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124.xml" ContentType="application/vnd.openxmlformats-officedocument.presentationml.slideLayout+xml"/>
  <Override PartName="/ppt/theme/theme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7.xml" ContentType="application/vnd.openxmlformats-officedocument.them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8.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9.xml" ContentType="application/vnd.openxmlformats-officedocument.them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10.xml" ContentType="application/vnd.openxmlformats-officedocument.them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heme/theme11.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2.xml" ContentType="application/vnd.openxmlformats-officedocument.presentationml.notesSlide+xml"/>
  <Override PartName="/ppt/charts/chart2.xml" ContentType="application/vnd.openxmlformats-officedocument.drawingml.chart+xml"/>
  <Override PartName="/ppt/drawings/drawing2.xml" ContentType="application/vnd.openxmlformats-officedocument.drawingml.chartshapes+xml"/>
  <Override PartName="/ppt/notesSlides/notesSlide3.xml" ContentType="application/vnd.openxmlformats-officedocument.presentationml.notesSlide+xml"/>
  <Override PartName="/ppt/charts/chart3.xml" ContentType="application/vnd.openxmlformats-officedocument.drawingml.chart+xml"/>
  <Override PartName="/ppt/drawings/drawing3.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0" r:id="rId5"/>
    <p:sldMasterId id="2147483721" r:id="rId6"/>
    <p:sldMasterId id="2147483754" r:id="rId7"/>
    <p:sldMasterId id="2147483759" r:id="rId8"/>
    <p:sldMasterId id="2147484022" r:id="rId9"/>
    <p:sldMasterId id="2147484025" r:id="rId10"/>
    <p:sldMasterId id="2147484054" r:id="rId11"/>
    <p:sldMasterId id="2147484093" r:id="rId12"/>
    <p:sldMasterId id="2147484097" r:id="rId13"/>
  </p:sldMasterIdLst>
  <p:notesMasterIdLst>
    <p:notesMasterId r:id="rId17"/>
  </p:notesMasterIdLst>
  <p:sldIdLst>
    <p:sldId id="298" r:id="rId14"/>
    <p:sldId id="299" r:id="rId15"/>
    <p:sldId id="300" r:id="rId16"/>
  </p:sldIdLst>
  <p:sldSz cx="12192000" cy="6858000"/>
  <p:notesSz cx="6797675" cy="9926638"/>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BF32480-2BCE-4764-B775-72E926E1B6FD}">
          <p14:sldIdLst>
            <p14:sldId id="298"/>
            <p14:sldId id="299"/>
            <p14:sldId id="30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F87"/>
    <a:srgbClr val="AEDCFF"/>
    <a:srgbClr val="75C5FF"/>
    <a:srgbClr val="24FF79"/>
    <a:srgbClr val="29FF7C"/>
    <a:srgbClr val="B2DEFF"/>
    <a:srgbClr val="79C7FF"/>
    <a:srgbClr val="00AE4C"/>
    <a:srgbClr val="FEC5C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88" autoAdjust="0"/>
    <p:restoredTop sz="91634" autoAdjust="0"/>
  </p:normalViewPr>
  <p:slideViewPr>
    <p:cSldViewPr snapToGrid="0">
      <p:cViewPr varScale="1">
        <p:scale>
          <a:sx n="87" d="100"/>
          <a:sy n="87" d="100"/>
        </p:scale>
        <p:origin x="538" y="120"/>
      </p:cViewPr>
      <p:guideLst/>
    </p:cSldViewPr>
  </p:slideViewPr>
  <p:notesTextViewPr>
    <p:cViewPr>
      <p:scale>
        <a:sx n="1" d="1"/>
        <a:sy n="1" d="1"/>
      </p:scale>
      <p:origin x="0" y="0"/>
    </p:cViewPr>
  </p:notesTextViewPr>
  <p:sorterViewPr>
    <p:cViewPr>
      <p:scale>
        <a:sx n="170" d="100"/>
        <a:sy n="170" d="100"/>
      </p:scale>
      <p:origin x="0" y="-1045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5" Type="http://schemas.openxmlformats.org/officeDocument/2006/relationships/slideMaster" Target="slideMasters/slideMaster2.xml"/><Relationship Id="rId15" Type="http://schemas.openxmlformats.org/officeDocument/2006/relationships/slide" Target="slides/slide2.xml"/><Relationship Id="rId10" Type="http://schemas.openxmlformats.org/officeDocument/2006/relationships/slideMaster" Target="slideMasters/slideMaster7.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8" Type="http://schemas.openxmlformats.org/officeDocument/2006/relationships/oleObject" Target="NULL" TargetMode="External"/><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image" Target="../media/image11.png"/><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image" Target="../media/image19.png"/><Relationship Id="rId6" Type="http://schemas.openxmlformats.org/officeDocument/2006/relationships/image" Target="../media/image24.png"/><Relationship Id="rId5" Type="http://schemas.openxmlformats.org/officeDocument/2006/relationships/image" Target="../media/image23.png"/><Relationship Id="rId10" Type="http://schemas.openxmlformats.org/officeDocument/2006/relationships/chartUserShapes" Target="../drawings/drawing2.xml"/><Relationship Id="rId4" Type="http://schemas.openxmlformats.org/officeDocument/2006/relationships/image" Target="../media/image22.png"/><Relationship Id="rId9" Type="http://schemas.openxmlformats.org/officeDocument/2006/relationships/oleObject" Target="NULL" TargetMode="External"/></Relationships>
</file>

<file path=ppt/charts/_rels/chart3.xml.rels><?xml version="1.0" encoding="UTF-8" standalone="yes"?>
<Relationships xmlns="http://schemas.openxmlformats.org/package/2006/relationships"><Relationship Id="rId8" Type="http://schemas.openxmlformats.org/officeDocument/2006/relationships/chartUserShapes" Target="../drawings/drawing3.xml"/><Relationship Id="rId3" Type="http://schemas.openxmlformats.org/officeDocument/2006/relationships/image" Target="../media/image21.png"/><Relationship Id="rId7" Type="http://schemas.openxmlformats.org/officeDocument/2006/relationships/oleObject" Target="NULL" TargetMode="External"/><Relationship Id="rId2" Type="http://schemas.openxmlformats.org/officeDocument/2006/relationships/image" Target="../media/image20.png"/><Relationship Id="rId1" Type="http://schemas.openxmlformats.org/officeDocument/2006/relationships/image" Target="../media/image19.png"/><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50067040683108"/>
          <c:y val="6.7997152234771679E-2"/>
          <c:w val="0.79461623549921179"/>
          <c:h val="0.77724265657724745"/>
        </c:manualLayout>
      </c:layout>
      <c:bubbleChart>
        <c:varyColors val="0"/>
        <c:ser>
          <c:idx val="1"/>
          <c:order val="0"/>
          <c:tx>
            <c:strRef>
              <c:f>'Table and charts'!$D$4</c:f>
              <c:strCache>
                <c:ptCount val="1"/>
                <c:pt idx="0">
                  <c:v>Ave reach per day</c:v>
                </c:pt>
              </c:strCache>
            </c:strRef>
          </c:tx>
          <c:spPr>
            <a:solidFill>
              <a:schemeClr val="accent2">
                <a:alpha val="75000"/>
              </a:schemeClr>
            </a:solidFill>
            <a:ln w="25400">
              <a:noFill/>
            </a:ln>
            <a:effectLst/>
          </c:spPr>
          <c:invertIfNegative val="0"/>
          <c:dPt>
            <c:idx val="0"/>
            <c:invertIfNegative val="0"/>
            <c:bubble3D val="1"/>
            <c:spPr>
              <a:blipFill dpi="0" rotWithShape="0">
                <a:blip xmlns:r="http://schemas.openxmlformats.org/officeDocument/2006/relationships" r:embed="rId1"/>
                <a:srcRect/>
                <a:stretch>
                  <a:fillRect/>
                </a:stretch>
              </a:blipFill>
              <a:ln w="25400">
                <a:noFill/>
              </a:ln>
            </c:spPr>
            <c:pictureOptions>
              <c:pictureFormat val="stretch"/>
            </c:pictureOptions>
            <c:extLst>
              <c:ext xmlns:c16="http://schemas.microsoft.com/office/drawing/2014/chart" uri="{C3380CC4-5D6E-409C-BE32-E72D297353CC}">
                <c16:uniqueId val="{00000001-7668-46E4-BBEE-E439904B4DB4}"/>
              </c:ext>
            </c:extLst>
          </c:dPt>
          <c:dPt>
            <c:idx val="1"/>
            <c:invertIfNegative val="0"/>
            <c:bubble3D val="1"/>
            <c:spPr>
              <a:blipFill dpi="0" rotWithShape="0">
                <a:blip xmlns:r="http://schemas.openxmlformats.org/officeDocument/2006/relationships" r:embed="rId2"/>
                <a:srcRect/>
                <a:stretch>
                  <a:fillRect/>
                </a:stretch>
              </a:blipFill>
              <a:ln w="25400">
                <a:noFill/>
              </a:ln>
            </c:spPr>
            <c:pictureOptions>
              <c:pictureFormat val="stretch"/>
            </c:pictureOptions>
            <c:extLst>
              <c:ext xmlns:c16="http://schemas.microsoft.com/office/drawing/2014/chart" uri="{C3380CC4-5D6E-409C-BE32-E72D297353CC}">
                <c16:uniqueId val="{00000003-7668-46E4-BBEE-E439904B4DB4}"/>
              </c:ext>
            </c:extLst>
          </c:dPt>
          <c:dPt>
            <c:idx val="2"/>
            <c:invertIfNegative val="0"/>
            <c:bubble3D val="1"/>
            <c:spPr>
              <a:blipFill dpi="0" rotWithShape="0">
                <a:blip xmlns:r="http://schemas.openxmlformats.org/officeDocument/2006/relationships" r:embed="rId3"/>
                <a:srcRect/>
                <a:stretch>
                  <a:fillRect/>
                </a:stretch>
              </a:blipFill>
              <a:ln w="25400">
                <a:noFill/>
              </a:ln>
            </c:spPr>
            <c:pictureOptions>
              <c:pictureFormat val="stretch"/>
            </c:pictureOptions>
            <c:extLst>
              <c:ext xmlns:c16="http://schemas.microsoft.com/office/drawing/2014/chart" uri="{C3380CC4-5D6E-409C-BE32-E72D297353CC}">
                <c16:uniqueId val="{00000005-7668-46E4-BBEE-E439904B4DB4}"/>
              </c:ext>
            </c:extLst>
          </c:dPt>
          <c:dPt>
            <c:idx val="3"/>
            <c:invertIfNegative val="0"/>
            <c:bubble3D val="1"/>
            <c:spPr>
              <a:blipFill dpi="0" rotWithShape="0">
                <a:blip xmlns:r="http://schemas.openxmlformats.org/officeDocument/2006/relationships" r:embed="rId4"/>
                <a:srcRect/>
                <a:stretch>
                  <a:fillRect/>
                </a:stretch>
              </a:blipFill>
              <a:ln w="25400">
                <a:noFill/>
              </a:ln>
            </c:spPr>
            <c:pictureOptions>
              <c:pictureFormat val="stretch"/>
            </c:pictureOptions>
            <c:extLst>
              <c:ext xmlns:c16="http://schemas.microsoft.com/office/drawing/2014/chart" uri="{C3380CC4-5D6E-409C-BE32-E72D297353CC}">
                <c16:uniqueId val="{00000007-7668-46E4-BBEE-E439904B4DB4}"/>
              </c:ext>
            </c:extLst>
          </c:dPt>
          <c:dPt>
            <c:idx val="4"/>
            <c:invertIfNegative val="0"/>
            <c:bubble3D val="1"/>
            <c:spPr>
              <a:blipFill dpi="0" rotWithShape="0">
                <a:blip xmlns:r="http://schemas.openxmlformats.org/officeDocument/2006/relationships" r:embed="rId5"/>
                <a:srcRect/>
                <a:stretch>
                  <a:fillRect/>
                </a:stretch>
              </a:blipFill>
              <a:ln w="25400">
                <a:noFill/>
              </a:ln>
            </c:spPr>
            <c:pictureOptions>
              <c:pictureFormat val="stretch"/>
            </c:pictureOptions>
            <c:extLst>
              <c:ext xmlns:c16="http://schemas.microsoft.com/office/drawing/2014/chart" uri="{C3380CC4-5D6E-409C-BE32-E72D297353CC}">
                <c16:uniqueId val="{00000009-7668-46E4-BBEE-E439904B4DB4}"/>
              </c:ext>
            </c:extLst>
          </c:dPt>
          <c:dPt>
            <c:idx val="5"/>
            <c:invertIfNegative val="0"/>
            <c:bubble3D val="1"/>
            <c:spPr>
              <a:solidFill>
                <a:srgbClr val="00B050"/>
              </a:solidFill>
              <a:ln w="25400">
                <a:noFill/>
              </a:ln>
            </c:spPr>
            <c:extLst>
              <c:ext xmlns:c16="http://schemas.microsoft.com/office/drawing/2014/chart" uri="{C3380CC4-5D6E-409C-BE32-E72D297353CC}">
                <c16:uniqueId val="{0000000B-7668-46E4-BBEE-E439904B4DB4}"/>
              </c:ext>
            </c:extLst>
          </c:dPt>
          <c:dPt>
            <c:idx val="6"/>
            <c:invertIfNegative val="0"/>
            <c:bubble3D val="1"/>
            <c:spPr>
              <a:blipFill dpi="0" rotWithShape="0">
                <a:blip xmlns:r="http://schemas.openxmlformats.org/officeDocument/2006/relationships" r:embed="rId6"/>
                <a:srcRect/>
                <a:stretch>
                  <a:fillRect/>
                </a:stretch>
              </a:blipFill>
              <a:ln w="25400">
                <a:noFill/>
              </a:ln>
            </c:spPr>
            <c:pictureOptions>
              <c:pictureFormat val="stretch"/>
            </c:pictureOptions>
            <c:extLst>
              <c:ext xmlns:c16="http://schemas.microsoft.com/office/drawing/2014/chart" uri="{C3380CC4-5D6E-409C-BE32-E72D297353CC}">
                <c16:uniqueId val="{0000000D-7668-46E4-BBEE-E439904B4DB4}"/>
              </c:ext>
            </c:extLst>
          </c:dPt>
          <c:dPt>
            <c:idx val="7"/>
            <c:invertIfNegative val="0"/>
            <c:bubble3D val="1"/>
            <c:spPr>
              <a:blipFill dpi="0" rotWithShape="0">
                <a:blip xmlns:r="http://schemas.openxmlformats.org/officeDocument/2006/relationships" r:embed="rId7"/>
                <a:srcRect/>
                <a:stretch>
                  <a:fillRect/>
                </a:stretch>
              </a:blipFill>
              <a:ln w="25400">
                <a:noFill/>
              </a:ln>
            </c:spPr>
            <c:pictureOptions>
              <c:pictureFormat val="stretch"/>
            </c:pictureOptions>
            <c:extLst>
              <c:ext xmlns:c16="http://schemas.microsoft.com/office/drawing/2014/chart" uri="{C3380CC4-5D6E-409C-BE32-E72D297353CC}">
                <c16:uniqueId val="{0000000F-7668-46E4-BBEE-E439904B4DB4}"/>
              </c:ext>
            </c:extLst>
          </c:dPt>
          <c:dPt>
            <c:idx val="8"/>
            <c:invertIfNegative val="0"/>
            <c:bubble3D val="1"/>
            <c:spPr>
              <a:solidFill>
                <a:srgbClr val="7030A0"/>
              </a:solidFill>
              <a:ln w="25400">
                <a:noFill/>
              </a:ln>
            </c:spPr>
            <c:extLst>
              <c:ext xmlns:c16="http://schemas.microsoft.com/office/drawing/2014/chart" uri="{C3380CC4-5D6E-409C-BE32-E72D297353CC}">
                <c16:uniqueId val="{00000011-7668-46E4-BBEE-E439904B4DB4}"/>
              </c:ext>
            </c:extLst>
          </c:dPt>
          <c:xVal>
            <c:numRef>
              <c:f>'Table and charts'!$C$5:$C$14</c:f>
              <c:numCache>
                <c:formatCode>[$-F400]h:mm:ss\ AM/PM</c:formatCode>
                <c:ptCount val="10"/>
                <c:pt idx="0">
                  <c:v>0.14207215568854947</c:v>
                </c:pt>
                <c:pt idx="1">
                  <c:v>8.7111756174286306E-2</c:v>
                </c:pt>
                <c:pt idx="2">
                  <c:v>7.4402812489046635E-2</c:v>
                </c:pt>
                <c:pt idx="3">
                  <c:v>6.3552260097284929E-2</c:v>
                </c:pt>
                <c:pt idx="4">
                  <c:v>6.742700656194496E-2</c:v>
                </c:pt>
                <c:pt idx="5">
                  <c:v>2.6515594385675995E-2</c:v>
                </c:pt>
                <c:pt idx="6">
                  <c:v>7.0875143713609479E-2</c:v>
                </c:pt>
                <c:pt idx="7">
                  <c:v>6.3866406734866127E-2</c:v>
                </c:pt>
                <c:pt idx="8">
                  <c:v>9.4136444066460614E-2</c:v>
                </c:pt>
                <c:pt idx="9">
                  <c:v>6.3555359938645181E-2</c:v>
                </c:pt>
              </c:numCache>
            </c:numRef>
          </c:xVal>
          <c:yVal>
            <c:numRef>
              <c:f>'Table and charts'!$D$5:$D$14</c:f>
              <c:numCache>
                <c:formatCode>_-* #,##0\ _k_r_-;\-* #,##0\ _k_r_-;_-* "-"??\ _k_r_-;_-@_-</c:formatCode>
                <c:ptCount val="10"/>
                <c:pt idx="0">
                  <c:v>33136.369599999998</c:v>
                </c:pt>
                <c:pt idx="1">
                  <c:v>26881.064416438356</c:v>
                </c:pt>
                <c:pt idx="2">
                  <c:v>12447.802915068492</c:v>
                </c:pt>
                <c:pt idx="3">
                  <c:v>5254.4123835616438</c:v>
                </c:pt>
                <c:pt idx="4">
                  <c:v>4383.7306246575345</c:v>
                </c:pt>
                <c:pt idx="5">
                  <c:v>83.120479452054781</c:v>
                </c:pt>
                <c:pt idx="6">
                  <c:v>20346.636235616439</c:v>
                </c:pt>
                <c:pt idx="7">
                  <c:v>6396.5348821917805</c:v>
                </c:pt>
                <c:pt idx="8">
                  <c:v>692.72371232876719</c:v>
                </c:pt>
                <c:pt idx="9">
                  <c:v>412.78436164383561</c:v>
                </c:pt>
              </c:numCache>
            </c:numRef>
          </c:yVal>
          <c:bubbleSize>
            <c:numRef>
              <c:f>'Table and charts'!$E$5:$E$14</c:f>
              <c:numCache>
                <c:formatCode>_-* #,##0\ _k_r_-;\-* #,##0\ _k_r_-;_-* "-"??\ _k_r_-;_-@_-</c:formatCode>
                <c:ptCount val="10"/>
                <c:pt idx="0">
                  <c:v>4717.9016438356166</c:v>
                </c:pt>
                <c:pt idx="1">
                  <c:v>2359.2419178082191</c:v>
                </c:pt>
                <c:pt idx="2">
                  <c:v>931.03315068493157</c:v>
                </c:pt>
                <c:pt idx="3">
                  <c:v>336.28630136986305</c:v>
                </c:pt>
                <c:pt idx="4">
                  <c:v>298.10493150684931</c:v>
                </c:pt>
                <c:pt idx="5">
                  <c:v>2.1978082191780821</c:v>
                </c:pt>
                <c:pt idx="6">
                  <c:v>1438.3550684931506</c:v>
                </c:pt>
                <c:pt idx="7">
                  <c:v>408.42794520547943</c:v>
                </c:pt>
                <c:pt idx="8">
                  <c:v>65.16876712328768</c:v>
                </c:pt>
                <c:pt idx="9">
                  <c:v>26.589589041095888</c:v>
                </c:pt>
              </c:numCache>
            </c:numRef>
          </c:bubbleSize>
          <c:bubble3D val="1"/>
          <c:extLst>
            <c:ext xmlns:c16="http://schemas.microsoft.com/office/drawing/2014/chart" uri="{C3380CC4-5D6E-409C-BE32-E72D297353CC}">
              <c16:uniqueId val="{00000012-7668-46E4-BBEE-E439904B4DB4}"/>
            </c:ext>
          </c:extLst>
        </c:ser>
        <c:dLbls>
          <c:showLegendKey val="0"/>
          <c:showVal val="0"/>
          <c:showCatName val="0"/>
          <c:showSerName val="0"/>
          <c:showPercent val="0"/>
          <c:showBubbleSize val="0"/>
        </c:dLbls>
        <c:bubbleScale val="100"/>
        <c:showNegBubbles val="0"/>
        <c:axId val="830274208"/>
        <c:axId val="1"/>
      </c:bubbleChart>
      <c:valAx>
        <c:axId val="830274208"/>
        <c:scaling>
          <c:orientation val="minMax"/>
          <c:min val="0"/>
        </c:scaling>
        <c:delete val="0"/>
        <c:axPos val="b"/>
        <c:title>
          <c:tx>
            <c:rich>
              <a:bodyPr/>
              <a:lstStyle/>
              <a:p>
                <a:pPr>
                  <a:defRPr sz="1000" b="1" i="0" u="none" strike="noStrike" baseline="0">
                    <a:solidFill>
                      <a:srgbClr val="000000"/>
                    </a:solidFill>
                    <a:latin typeface="+mj-lt"/>
                    <a:ea typeface="Calibri"/>
                    <a:cs typeface="Calibri"/>
                  </a:defRPr>
                </a:pPr>
                <a:r>
                  <a:rPr lang="en-GB">
                    <a:latin typeface="+mj-lt"/>
                  </a:rPr>
                  <a:t>AVE TIME VIEWED PER </a:t>
                </a:r>
                <a:r>
                  <a:rPr lang="en-GB" u="sng">
                    <a:latin typeface="+mj-lt"/>
                  </a:rPr>
                  <a:t>VIEWER</a:t>
                </a:r>
                <a:r>
                  <a:rPr lang="en-GB">
                    <a:latin typeface="+mj-lt"/>
                  </a:rPr>
                  <a:t> PER DAY</a:t>
                </a:r>
              </a:p>
            </c:rich>
          </c:tx>
          <c:layout>
            <c:manualLayout>
              <c:xMode val="edge"/>
              <c:yMode val="edge"/>
              <c:x val="0.43181326472122017"/>
              <c:y val="0.95424478623652487"/>
            </c:manualLayout>
          </c:layout>
          <c:overlay val="0"/>
        </c:title>
        <c:numFmt formatCode="[$-F400]h:mm:ss\ AM/PM" sourceLinked="1"/>
        <c:majorTickMark val="none"/>
        <c:minorTickMark val="none"/>
        <c:tickLblPos val="nextTo"/>
        <c:spPr>
          <a:noFill/>
          <a:ln w="9525" cap="flat" cmpd="sng" algn="ctr">
            <a:solidFill>
              <a:schemeClr val="tx1">
                <a:lumMod val="25000"/>
                <a:lumOff val="75000"/>
              </a:schemeClr>
            </a:solidFill>
            <a:round/>
          </a:ln>
          <a:effectLst/>
        </c:spPr>
        <c:txPr>
          <a:bodyPr rot="0" vert="horz"/>
          <a:lstStyle/>
          <a:p>
            <a:pPr>
              <a:defRPr sz="1050" b="1" i="0" u="none" strike="noStrike" baseline="0">
                <a:solidFill>
                  <a:srgbClr val="333333"/>
                </a:solidFill>
                <a:latin typeface="+mj-lt"/>
                <a:ea typeface="Calibri"/>
                <a:cs typeface="Calibri"/>
              </a:defRPr>
            </a:pPr>
            <a:endParaRPr lang="en-US"/>
          </a:p>
        </c:txPr>
        <c:crossAx val="1"/>
        <c:crosses val="autoZero"/>
        <c:crossBetween val="midCat"/>
        <c:majorUnit val="2.0833000000000001E-2"/>
      </c:valAx>
      <c:valAx>
        <c:axId val="1"/>
        <c:scaling>
          <c:orientation val="minMax"/>
          <c:max val="45000"/>
          <c:min val="0"/>
        </c:scaling>
        <c:delete val="0"/>
        <c:axPos val="l"/>
        <c:title>
          <c:tx>
            <c:rich>
              <a:bodyPr/>
              <a:lstStyle/>
              <a:p>
                <a:pPr>
                  <a:defRPr sz="1000" b="1" i="0" u="none" strike="noStrike" baseline="0">
                    <a:solidFill>
                      <a:srgbClr val="000000"/>
                    </a:solidFill>
                    <a:latin typeface="+mj-lt"/>
                    <a:ea typeface="Calibri"/>
                    <a:cs typeface="Calibri"/>
                  </a:defRPr>
                </a:pPr>
                <a:r>
                  <a:rPr lang="en-GB">
                    <a:latin typeface="+mj-lt"/>
                  </a:rPr>
                  <a:t>AVERAGE DAILY REACH (000s)</a:t>
                </a:r>
              </a:p>
            </c:rich>
          </c:tx>
          <c:layout>
            <c:manualLayout>
              <c:xMode val="edge"/>
              <c:yMode val="edge"/>
              <c:x val="3.1996753819554712E-2"/>
              <c:y val="0.18743049522154648"/>
            </c:manualLayout>
          </c:layout>
          <c:overlay val="0"/>
          <c:spPr>
            <a:ln>
              <a:noFill/>
            </a:ln>
          </c:spPr>
        </c:title>
        <c:numFmt formatCode="_-* #,##0\ _k_r_-;\-* #,##0\ _k_r_-;_-* &quot;-&quot;??\ _k_r_-;_-@_-" sourceLinked="1"/>
        <c:majorTickMark val="none"/>
        <c:minorTickMark val="none"/>
        <c:tickLblPos val="nextTo"/>
        <c:spPr>
          <a:noFill/>
          <a:ln w="9525" cap="flat" cmpd="sng" algn="ctr">
            <a:solidFill>
              <a:schemeClr val="tx1">
                <a:lumMod val="25000"/>
                <a:lumOff val="75000"/>
              </a:schemeClr>
            </a:solidFill>
            <a:round/>
          </a:ln>
          <a:effectLst/>
        </c:spPr>
        <c:txPr>
          <a:bodyPr rot="0" vert="horz"/>
          <a:lstStyle/>
          <a:p>
            <a:pPr>
              <a:defRPr sz="1050" b="1" i="0" u="none" strike="noStrike" baseline="0">
                <a:solidFill>
                  <a:srgbClr val="333333"/>
                </a:solidFill>
                <a:latin typeface="+mj-lt"/>
                <a:ea typeface="Calibri"/>
                <a:cs typeface="Calibri"/>
              </a:defRPr>
            </a:pPr>
            <a:endParaRPr lang="en-US"/>
          </a:p>
        </c:txPr>
        <c:crossAx val="830274208"/>
        <c:crosses val="autoZero"/>
        <c:crossBetween val="midCat"/>
      </c:valAx>
      <c:spPr>
        <a:noFill/>
        <a:ln w="25400">
          <a:noFill/>
        </a:ln>
      </c:spPr>
    </c:plotArea>
    <c:plotVisOnly val="1"/>
    <c:dispBlanksAs val="gap"/>
    <c:showDLblsOverMax val="0"/>
  </c:chart>
  <c:spPr>
    <a:noFill/>
    <a:ln w="9525" cap="flat" cmpd="sng" algn="ctr">
      <a:noFill/>
      <a:round/>
    </a:ln>
    <a:effectLst/>
  </c:spPr>
  <c:txPr>
    <a:bodyPr/>
    <a:lstStyle/>
    <a:p>
      <a:pPr>
        <a:defRPr sz="1000" b="0" i="0" u="none" strike="noStrike" baseline="0">
          <a:solidFill>
            <a:srgbClr val="000000"/>
          </a:solidFill>
          <a:latin typeface="Calibri"/>
          <a:ea typeface="Calibri"/>
          <a:cs typeface="Calibri"/>
        </a:defRPr>
      </a:pPr>
      <a:endParaRPr lang="en-US"/>
    </a:p>
  </c:txPr>
  <c:externalData r:id="rId8">
    <c:autoUpdate val="0"/>
  </c:externalData>
  <c:userShapes r:id="rId9"/>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52236769261521"/>
          <c:y val="8.1986758017827718E-2"/>
          <c:w val="0.81573514311653206"/>
          <c:h val="0.80254145764532914"/>
        </c:manualLayout>
      </c:layout>
      <c:bubbleChart>
        <c:varyColors val="0"/>
        <c:ser>
          <c:idx val="1"/>
          <c:order val="0"/>
          <c:tx>
            <c:strRef>
              <c:f>TABLE!$D$4</c:f>
              <c:strCache>
                <c:ptCount val="1"/>
                <c:pt idx="0">
                  <c:v> Ave reach per day </c:v>
                </c:pt>
              </c:strCache>
            </c:strRef>
          </c:tx>
          <c:spPr>
            <a:solidFill>
              <a:schemeClr val="accent2">
                <a:alpha val="75000"/>
              </a:schemeClr>
            </a:solidFill>
            <a:ln w="25400">
              <a:noFill/>
            </a:ln>
            <a:effectLst/>
          </c:spPr>
          <c:invertIfNegative val="0"/>
          <c:dPt>
            <c:idx val="0"/>
            <c:invertIfNegative val="0"/>
            <c:bubble3D val="1"/>
            <c:spPr>
              <a:blipFill dpi="0" rotWithShape="0">
                <a:blip xmlns:r="http://schemas.openxmlformats.org/officeDocument/2006/relationships" r:embed="rId1"/>
                <a:srcRect/>
                <a:stretch>
                  <a:fillRect/>
                </a:stretch>
              </a:blipFill>
              <a:ln w="25400">
                <a:noFill/>
              </a:ln>
            </c:spPr>
            <c:pictureOptions>
              <c:pictureFormat val="stretch"/>
            </c:pictureOptions>
            <c:extLst>
              <c:ext xmlns:c16="http://schemas.microsoft.com/office/drawing/2014/chart" uri="{C3380CC4-5D6E-409C-BE32-E72D297353CC}">
                <c16:uniqueId val="{00000001-AEAF-4285-B654-9D8188F44E5D}"/>
              </c:ext>
            </c:extLst>
          </c:dPt>
          <c:dPt>
            <c:idx val="1"/>
            <c:invertIfNegative val="0"/>
            <c:bubble3D val="1"/>
            <c:spPr>
              <a:blipFill dpi="0" rotWithShape="0">
                <a:blip xmlns:r="http://schemas.openxmlformats.org/officeDocument/2006/relationships" r:embed="rId2"/>
                <a:srcRect/>
                <a:stretch>
                  <a:fillRect/>
                </a:stretch>
              </a:blipFill>
              <a:ln w="25400">
                <a:noFill/>
              </a:ln>
            </c:spPr>
            <c:pictureOptions>
              <c:pictureFormat val="stretch"/>
            </c:pictureOptions>
            <c:extLst>
              <c:ext xmlns:c16="http://schemas.microsoft.com/office/drawing/2014/chart" uri="{C3380CC4-5D6E-409C-BE32-E72D297353CC}">
                <c16:uniqueId val="{00000003-AEAF-4285-B654-9D8188F44E5D}"/>
              </c:ext>
            </c:extLst>
          </c:dPt>
          <c:dPt>
            <c:idx val="2"/>
            <c:invertIfNegative val="0"/>
            <c:bubble3D val="1"/>
            <c:spPr>
              <a:blipFill dpi="0" rotWithShape="0">
                <a:blip xmlns:r="http://schemas.openxmlformats.org/officeDocument/2006/relationships" r:embed="rId3"/>
                <a:srcRect/>
                <a:stretch>
                  <a:fillRect/>
                </a:stretch>
              </a:blipFill>
              <a:ln w="25400">
                <a:noFill/>
              </a:ln>
            </c:spPr>
            <c:pictureOptions>
              <c:pictureFormat val="stretch"/>
            </c:pictureOptions>
            <c:extLst>
              <c:ext xmlns:c16="http://schemas.microsoft.com/office/drawing/2014/chart" uri="{C3380CC4-5D6E-409C-BE32-E72D297353CC}">
                <c16:uniqueId val="{00000005-AEAF-4285-B654-9D8188F44E5D}"/>
              </c:ext>
            </c:extLst>
          </c:dPt>
          <c:dPt>
            <c:idx val="3"/>
            <c:invertIfNegative val="0"/>
            <c:bubble3D val="1"/>
            <c:spPr>
              <a:blipFill dpi="0" rotWithShape="0">
                <a:blip xmlns:r="http://schemas.openxmlformats.org/officeDocument/2006/relationships" r:embed="rId4"/>
                <a:srcRect/>
                <a:stretch>
                  <a:fillRect/>
                </a:stretch>
              </a:blipFill>
              <a:ln w="25400">
                <a:noFill/>
              </a:ln>
            </c:spPr>
            <c:pictureOptions>
              <c:pictureFormat val="stretch"/>
            </c:pictureOptions>
            <c:extLst>
              <c:ext xmlns:c16="http://schemas.microsoft.com/office/drawing/2014/chart" uri="{C3380CC4-5D6E-409C-BE32-E72D297353CC}">
                <c16:uniqueId val="{00000007-AEAF-4285-B654-9D8188F44E5D}"/>
              </c:ext>
            </c:extLst>
          </c:dPt>
          <c:dPt>
            <c:idx val="4"/>
            <c:invertIfNegative val="0"/>
            <c:bubble3D val="1"/>
            <c:spPr>
              <a:blipFill dpi="0" rotWithShape="0">
                <a:blip xmlns:r="http://schemas.openxmlformats.org/officeDocument/2006/relationships" r:embed="rId5"/>
                <a:srcRect/>
                <a:stretch>
                  <a:fillRect/>
                </a:stretch>
              </a:blipFill>
              <a:ln w="25400">
                <a:noFill/>
              </a:ln>
            </c:spPr>
            <c:pictureOptions>
              <c:pictureFormat val="stretch"/>
            </c:pictureOptions>
            <c:extLst>
              <c:ext xmlns:c16="http://schemas.microsoft.com/office/drawing/2014/chart" uri="{C3380CC4-5D6E-409C-BE32-E72D297353CC}">
                <c16:uniqueId val="{00000009-AEAF-4285-B654-9D8188F44E5D}"/>
              </c:ext>
            </c:extLst>
          </c:dPt>
          <c:dPt>
            <c:idx val="5"/>
            <c:invertIfNegative val="0"/>
            <c:bubble3D val="1"/>
            <c:spPr>
              <a:solidFill>
                <a:schemeClr val="tx1"/>
              </a:solidFill>
              <a:ln w="25400">
                <a:noFill/>
              </a:ln>
            </c:spPr>
            <c:extLst>
              <c:ext xmlns:c16="http://schemas.microsoft.com/office/drawing/2014/chart" uri="{C3380CC4-5D6E-409C-BE32-E72D297353CC}">
                <c16:uniqueId val="{0000000B-AEAF-4285-B654-9D8188F44E5D}"/>
              </c:ext>
            </c:extLst>
          </c:dPt>
          <c:dPt>
            <c:idx val="6"/>
            <c:invertIfNegative val="0"/>
            <c:bubble3D val="1"/>
            <c:spPr>
              <a:blipFill dpi="0" rotWithShape="0">
                <a:blip xmlns:r="http://schemas.openxmlformats.org/officeDocument/2006/relationships" r:embed="rId6"/>
                <a:srcRect/>
                <a:stretch>
                  <a:fillRect/>
                </a:stretch>
              </a:blipFill>
              <a:ln w="25400">
                <a:noFill/>
              </a:ln>
            </c:spPr>
            <c:pictureOptions>
              <c:pictureFormat val="stretch"/>
            </c:pictureOptions>
            <c:extLst>
              <c:ext xmlns:c16="http://schemas.microsoft.com/office/drawing/2014/chart" uri="{C3380CC4-5D6E-409C-BE32-E72D297353CC}">
                <c16:uniqueId val="{0000000D-AEAF-4285-B654-9D8188F44E5D}"/>
              </c:ext>
            </c:extLst>
          </c:dPt>
          <c:dPt>
            <c:idx val="7"/>
            <c:invertIfNegative val="0"/>
            <c:bubble3D val="1"/>
            <c:spPr>
              <a:blipFill dpi="0" rotWithShape="0">
                <a:blip xmlns:r="http://schemas.openxmlformats.org/officeDocument/2006/relationships" r:embed="rId7"/>
                <a:srcRect/>
                <a:stretch>
                  <a:fillRect/>
                </a:stretch>
              </a:blipFill>
              <a:ln w="25400">
                <a:noFill/>
              </a:ln>
            </c:spPr>
            <c:pictureOptions>
              <c:pictureFormat val="stretch"/>
            </c:pictureOptions>
            <c:extLst>
              <c:ext xmlns:c16="http://schemas.microsoft.com/office/drawing/2014/chart" uri="{C3380CC4-5D6E-409C-BE32-E72D297353CC}">
                <c16:uniqueId val="{0000000F-AEAF-4285-B654-9D8188F44E5D}"/>
              </c:ext>
            </c:extLst>
          </c:dPt>
          <c:dPt>
            <c:idx val="8"/>
            <c:invertIfNegative val="0"/>
            <c:bubble3D val="1"/>
            <c:spPr>
              <a:blipFill dpi="0" rotWithShape="0">
                <a:blip xmlns:r="http://schemas.openxmlformats.org/officeDocument/2006/relationships" r:embed="rId8"/>
                <a:srcRect/>
                <a:stretch>
                  <a:fillRect/>
                </a:stretch>
              </a:blipFill>
              <a:ln w="25400">
                <a:noFill/>
              </a:ln>
            </c:spPr>
            <c:pictureOptions>
              <c:pictureFormat val="stretch"/>
            </c:pictureOptions>
            <c:extLst>
              <c:ext xmlns:c16="http://schemas.microsoft.com/office/drawing/2014/chart" uri="{C3380CC4-5D6E-409C-BE32-E72D297353CC}">
                <c16:uniqueId val="{00000011-AEAF-4285-B654-9D8188F44E5D}"/>
              </c:ext>
            </c:extLst>
          </c:dPt>
          <c:dPt>
            <c:idx val="9"/>
            <c:invertIfNegative val="0"/>
            <c:bubble3D val="1"/>
            <c:spPr>
              <a:solidFill>
                <a:srgbClr val="00B050"/>
              </a:solidFill>
              <a:ln w="25400">
                <a:noFill/>
              </a:ln>
              <a:effectLst/>
            </c:spPr>
            <c:extLst>
              <c:ext xmlns:c16="http://schemas.microsoft.com/office/drawing/2014/chart" uri="{C3380CC4-5D6E-409C-BE32-E72D297353CC}">
                <c16:uniqueId val="{00000013-AEAF-4285-B654-9D8188F44E5D}"/>
              </c:ext>
            </c:extLst>
          </c:dPt>
          <c:xVal>
            <c:numRef>
              <c:f>TABLE!$C$5:$C$15</c:f>
              <c:numCache>
                <c:formatCode>[$-F400]h:mm:ss\ AM/PM</c:formatCode>
                <c:ptCount val="11"/>
                <c:pt idx="0">
                  <c:v>9.5944912860250073E-2</c:v>
                </c:pt>
                <c:pt idx="1">
                  <c:v>6.2545631204634064E-2</c:v>
                </c:pt>
                <c:pt idx="2">
                  <c:v>8.2248336018809001E-2</c:v>
                </c:pt>
                <c:pt idx="3">
                  <c:v>7.0301869333886338E-2</c:v>
                </c:pt>
                <c:pt idx="4">
                  <c:v>7.4759998213424328E-2</c:v>
                </c:pt>
                <c:pt idx="5">
                  <c:v>1.7902406099052734E-2</c:v>
                </c:pt>
                <c:pt idx="6">
                  <c:v>7.6971666744246506E-2</c:v>
                </c:pt>
                <c:pt idx="7">
                  <c:v>6.0947756096747442E-2</c:v>
                </c:pt>
                <c:pt idx="8">
                  <c:v>0.10712190231666387</c:v>
                </c:pt>
                <c:pt idx="9">
                  <c:v>2.0626077141050008E-2</c:v>
                </c:pt>
                <c:pt idx="10">
                  <c:v>5.9648975034284707E-2</c:v>
                </c:pt>
              </c:numCache>
            </c:numRef>
          </c:xVal>
          <c:yVal>
            <c:numRef>
              <c:f>TABLE!$D$5:$D$15</c:f>
              <c:numCache>
                <c:formatCode>_-* #,##0\ _k_r_-;\-* #,##0\ _k_r_-;_-* "-"??\ _k_r_-;_-@_-</c:formatCode>
                <c:ptCount val="11"/>
                <c:pt idx="0">
                  <c:v>4856.8517999999995</c:v>
                </c:pt>
                <c:pt idx="1">
                  <c:v>3051.7905068493151</c:v>
                </c:pt>
                <c:pt idx="2">
                  <c:v>4132.8941232876714</c:v>
                </c:pt>
                <c:pt idx="3">
                  <c:v>1467.3571287671232</c:v>
                </c:pt>
                <c:pt idx="4">
                  <c:v>1534.0261890410957</c:v>
                </c:pt>
                <c:pt idx="5">
                  <c:v>20.276243835616437</c:v>
                </c:pt>
                <c:pt idx="6">
                  <c:v>6086.9897890410966</c:v>
                </c:pt>
                <c:pt idx="7">
                  <c:v>3290.0181890410959</c:v>
                </c:pt>
                <c:pt idx="8">
                  <c:v>441.49076438356161</c:v>
                </c:pt>
                <c:pt idx="9">
                  <c:v>21.266567123287672</c:v>
                </c:pt>
                <c:pt idx="10">
                  <c:v>106.10260273972604</c:v>
                </c:pt>
              </c:numCache>
            </c:numRef>
          </c:yVal>
          <c:bubbleSize>
            <c:numRef>
              <c:f>TABLE!$E$5:$E$15</c:f>
              <c:numCache>
                <c:formatCode>_-* #,##0\ _k_r_-;\-* #,##0\ _k_r_-;_-* "-"??\ _k_r_-;_-@_-</c:formatCode>
                <c:ptCount val="11"/>
                <c:pt idx="0">
                  <c:v>468.61369863013698</c:v>
                </c:pt>
                <c:pt idx="1">
                  <c:v>195.0295890410959</c:v>
                </c:pt>
                <c:pt idx="2">
                  <c:v>341.09506849315068</c:v>
                </c:pt>
                <c:pt idx="3">
                  <c:v>103.85260273972604</c:v>
                </c:pt>
                <c:pt idx="4">
                  <c:v>115.11945205479451</c:v>
                </c:pt>
                <c:pt idx="5">
                  <c:v>0.36356164383561645</c:v>
                </c:pt>
                <c:pt idx="6">
                  <c:v>467.44575342465748</c:v>
                </c:pt>
                <c:pt idx="7">
                  <c:v>200.51095890410957</c:v>
                </c:pt>
                <c:pt idx="8">
                  <c:v>47.179452054794524</c:v>
                </c:pt>
                <c:pt idx="9">
                  <c:v>0.56410958904109587</c:v>
                </c:pt>
                <c:pt idx="10">
                  <c:v>6.9024657534246572</c:v>
                </c:pt>
              </c:numCache>
            </c:numRef>
          </c:bubbleSize>
          <c:bubble3D val="1"/>
          <c:extLst>
            <c:ext xmlns:c16="http://schemas.microsoft.com/office/drawing/2014/chart" uri="{C3380CC4-5D6E-409C-BE32-E72D297353CC}">
              <c16:uniqueId val="{00000014-AEAF-4285-B654-9D8188F44E5D}"/>
            </c:ext>
          </c:extLst>
        </c:ser>
        <c:dLbls>
          <c:showLegendKey val="0"/>
          <c:showVal val="0"/>
          <c:showCatName val="0"/>
          <c:showSerName val="0"/>
          <c:showPercent val="0"/>
          <c:showBubbleSize val="0"/>
        </c:dLbls>
        <c:bubbleScale val="100"/>
        <c:showNegBubbles val="0"/>
        <c:axId val="830550656"/>
        <c:axId val="1"/>
      </c:bubbleChart>
      <c:valAx>
        <c:axId val="830550656"/>
        <c:scaling>
          <c:orientation val="minMax"/>
          <c:min val="0"/>
        </c:scaling>
        <c:delete val="0"/>
        <c:axPos val="b"/>
        <c:title>
          <c:tx>
            <c:rich>
              <a:bodyPr/>
              <a:lstStyle/>
              <a:p>
                <a:pPr>
                  <a:defRPr sz="1000" b="1" i="0" u="none" strike="noStrike" baseline="0">
                    <a:solidFill>
                      <a:srgbClr val="000000"/>
                    </a:solidFill>
                    <a:latin typeface="+mj-lt"/>
                    <a:ea typeface="Calibri"/>
                    <a:cs typeface="Calibri"/>
                  </a:defRPr>
                </a:pPr>
                <a:r>
                  <a:rPr lang="en-GB">
                    <a:latin typeface="+mj-lt"/>
                  </a:rPr>
                  <a:t>AVE TIME VIEWED PER </a:t>
                </a:r>
                <a:r>
                  <a:rPr lang="en-GB" u="sng">
                    <a:latin typeface="+mj-lt"/>
                  </a:rPr>
                  <a:t>VIEWER</a:t>
                </a:r>
                <a:r>
                  <a:rPr lang="en-GB">
                    <a:latin typeface="+mj-lt"/>
                  </a:rPr>
                  <a:t> PER DAY</a:t>
                </a:r>
              </a:p>
            </c:rich>
          </c:tx>
          <c:layout>
            <c:manualLayout>
              <c:xMode val="edge"/>
              <c:yMode val="edge"/>
              <c:x val="0.43236688855504901"/>
              <c:y val="0.95257987663046539"/>
            </c:manualLayout>
          </c:layout>
          <c:overlay val="0"/>
        </c:title>
        <c:numFmt formatCode="[$-F400]h:mm:ss\ AM/PM" sourceLinked="1"/>
        <c:majorTickMark val="none"/>
        <c:minorTickMark val="none"/>
        <c:tickLblPos val="nextTo"/>
        <c:spPr>
          <a:noFill/>
          <a:ln w="9525" cap="flat" cmpd="sng" algn="ctr">
            <a:solidFill>
              <a:schemeClr val="tx1">
                <a:lumMod val="25000"/>
                <a:lumOff val="75000"/>
              </a:schemeClr>
            </a:solidFill>
            <a:round/>
          </a:ln>
          <a:effectLst/>
        </c:spPr>
        <c:txPr>
          <a:bodyPr rot="0" vert="horz"/>
          <a:lstStyle/>
          <a:p>
            <a:pPr>
              <a:defRPr sz="1050" b="1" i="0" u="none" strike="noStrike" baseline="0">
                <a:solidFill>
                  <a:srgbClr val="333333"/>
                </a:solidFill>
                <a:latin typeface="+mj-lt"/>
                <a:ea typeface="Calibri"/>
                <a:cs typeface="Calibri"/>
              </a:defRPr>
            </a:pPr>
            <a:endParaRPr lang="en-US"/>
          </a:p>
        </c:txPr>
        <c:crossAx val="1"/>
        <c:crosses val="autoZero"/>
        <c:crossBetween val="midCat"/>
        <c:majorUnit val="2.0833000000000001E-2"/>
      </c:valAx>
      <c:valAx>
        <c:axId val="1"/>
        <c:scaling>
          <c:orientation val="minMax"/>
          <c:min val="0"/>
        </c:scaling>
        <c:delete val="0"/>
        <c:axPos val="l"/>
        <c:title>
          <c:tx>
            <c:rich>
              <a:bodyPr/>
              <a:lstStyle/>
              <a:p>
                <a:pPr>
                  <a:defRPr sz="1000" b="1" i="0" u="none" strike="noStrike" baseline="0">
                    <a:solidFill>
                      <a:srgbClr val="000000"/>
                    </a:solidFill>
                    <a:latin typeface="+mj-lt"/>
                    <a:ea typeface="Calibri"/>
                    <a:cs typeface="Calibri"/>
                  </a:defRPr>
                </a:pPr>
                <a:r>
                  <a:rPr lang="en-GB">
                    <a:latin typeface="+mj-lt"/>
                  </a:rPr>
                  <a:t>AVERAGE DAILY REACH (000s)</a:t>
                </a:r>
              </a:p>
            </c:rich>
          </c:tx>
          <c:layout>
            <c:manualLayout>
              <c:xMode val="edge"/>
              <c:yMode val="edge"/>
              <c:x val="3.3249620690871881E-2"/>
              <c:y val="0.1946363065933005"/>
            </c:manualLayout>
          </c:layout>
          <c:overlay val="0"/>
        </c:title>
        <c:numFmt formatCode="_-* #,##0\ _k_r_-;\-* #,##0\ _k_r_-;_-* &quot;-&quot;??\ _k_r_-;_-@_-" sourceLinked="1"/>
        <c:majorTickMark val="none"/>
        <c:minorTickMark val="none"/>
        <c:tickLblPos val="nextTo"/>
        <c:spPr>
          <a:noFill/>
          <a:ln w="9525" cap="flat" cmpd="sng" algn="ctr">
            <a:solidFill>
              <a:schemeClr val="tx1">
                <a:lumMod val="25000"/>
                <a:lumOff val="75000"/>
              </a:schemeClr>
            </a:solidFill>
            <a:round/>
          </a:ln>
          <a:effectLst/>
        </c:spPr>
        <c:txPr>
          <a:bodyPr rot="0" vert="horz"/>
          <a:lstStyle/>
          <a:p>
            <a:pPr>
              <a:defRPr sz="1050" b="1" i="0" u="none" strike="noStrike" baseline="0">
                <a:solidFill>
                  <a:srgbClr val="333333"/>
                </a:solidFill>
                <a:latin typeface="+mj-lt"/>
                <a:ea typeface="Calibri"/>
                <a:cs typeface="Calibri"/>
              </a:defRPr>
            </a:pPr>
            <a:endParaRPr lang="en-US"/>
          </a:p>
        </c:txPr>
        <c:crossAx val="830550656"/>
        <c:crosses val="autoZero"/>
        <c:crossBetween val="midCat"/>
      </c:valAx>
      <c:spPr>
        <a:noFill/>
        <a:ln w="25400">
          <a:noFill/>
        </a:ln>
      </c:spPr>
    </c:plotArea>
    <c:plotVisOnly val="1"/>
    <c:dispBlanksAs val="gap"/>
    <c:showDLblsOverMax val="0"/>
  </c:chart>
  <c:spPr>
    <a:noFill/>
    <a:ln w="9525" cap="flat" cmpd="sng" algn="ctr">
      <a:noFill/>
      <a:round/>
    </a:ln>
    <a:effectLst/>
  </c:spPr>
  <c:txPr>
    <a:bodyPr/>
    <a:lstStyle/>
    <a:p>
      <a:pPr>
        <a:defRPr sz="1000" b="0" i="0" u="none" strike="noStrike" baseline="0">
          <a:solidFill>
            <a:srgbClr val="000000"/>
          </a:solidFill>
          <a:latin typeface="Calibri"/>
          <a:ea typeface="Calibri"/>
          <a:cs typeface="Calibri"/>
        </a:defRPr>
      </a:pPr>
      <a:endParaRPr lang="en-US"/>
    </a:p>
  </c:txPr>
  <c:externalData r:id="rId9">
    <c:autoUpdate val="0"/>
  </c:externalData>
  <c:userShapes r:id="rId10"/>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20979785498834"/>
          <c:y val="0.10721888731025062"/>
          <c:w val="0.78597705147776042"/>
          <c:h val="0.7705692220084861"/>
        </c:manualLayout>
      </c:layout>
      <c:bubbleChart>
        <c:varyColors val="0"/>
        <c:ser>
          <c:idx val="1"/>
          <c:order val="0"/>
          <c:tx>
            <c:strRef>
              <c:f>TABLE!$D$21</c:f>
              <c:strCache>
                <c:ptCount val="1"/>
                <c:pt idx="0">
                  <c:v> Ave reach per day </c:v>
                </c:pt>
              </c:strCache>
            </c:strRef>
          </c:tx>
          <c:spPr>
            <a:solidFill>
              <a:srgbClr val="FF0000"/>
            </a:solidFill>
            <a:ln w="25400">
              <a:noFill/>
            </a:ln>
          </c:spPr>
          <c:invertIfNegative val="0"/>
          <c:dPt>
            <c:idx val="0"/>
            <c:invertIfNegative val="0"/>
            <c:bubble3D val="1"/>
            <c:spPr>
              <a:blipFill dpi="0" rotWithShape="0">
                <a:blip xmlns:r="http://schemas.openxmlformats.org/officeDocument/2006/relationships" r:embed="rId1"/>
                <a:srcRect/>
                <a:stretch>
                  <a:fillRect/>
                </a:stretch>
              </a:blipFill>
              <a:ln w="25400">
                <a:noFill/>
              </a:ln>
            </c:spPr>
            <c:pictureOptions>
              <c:pictureFormat val="stretch"/>
            </c:pictureOptions>
            <c:extLst>
              <c:ext xmlns:c16="http://schemas.microsoft.com/office/drawing/2014/chart" uri="{C3380CC4-5D6E-409C-BE32-E72D297353CC}">
                <c16:uniqueId val="{00000001-3885-4B19-9E5C-4888E06B42E2}"/>
              </c:ext>
            </c:extLst>
          </c:dPt>
          <c:dPt>
            <c:idx val="1"/>
            <c:invertIfNegative val="0"/>
            <c:bubble3D val="1"/>
            <c:spPr>
              <a:blipFill dpi="0" rotWithShape="0">
                <a:blip xmlns:r="http://schemas.openxmlformats.org/officeDocument/2006/relationships" r:embed="rId2"/>
                <a:srcRect/>
                <a:stretch>
                  <a:fillRect/>
                </a:stretch>
              </a:blipFill>
              <a:ln w="25400">
                <a:noFill/>
              </a:ln>
            </c:spPr>
            <c:pictureOptions>
              <c:pictureFormat val="stretch"/>
            </c:pictureOptions>
            <c:extLst>
              <c:ext xmlns:c16="http://schemas.microsoft.com/office/drawing/2014/chart" uri="{C3380CC4-5D6E-409C-BE32-E72D297353CC}">
                <c16:uniqueId val="{00000003-3885-4B19-9E5C-4888E06B42E2}"/>
              </c:ext>
            </c:extLst>
          </c:dPt>
          <c:dPt>
            <c:idx val="2"/>
            <c:invertIfNegative val="0"/>
            <c:bubble3D val="1"/>
            <c:spPr>
              <a:blipFill dpi="0" rotWithShape="0">
                <a:blip xmlns:r="http://schemas.openxmlformats.org/officeDocument/2006/relationships" r:embed="rId3"/>
                <a:srcRect/>
                <a:stretch>
                  <a:fillRect/>
                </a:stretch>
              </a:blipFill>
              <a:ln w="25400">
                <a:noFill/>
              </a:ln>
            </c:spPr>
            <c:pictureOptions>
              <c:pictureFormat val="stretch"/>
            </c:pictureOptions>
            <c:extLst>
              <c:ext xmlns:c16="http://schemas.microsoft.com/office/drawing/2014/chart" uri="{C3380CC4-5D6E-409C-BE32-E72D297353CC}">
                <c16:uniqueId val="{00000005-3885-4B19-9E5C-4888E06B42E2}"/>
              </c:ext>
            </c:extLst>
          </c:dPt>
          <c:dPt>
            <c:idx val="3"/>
            <c:invertIfNegative val="0"/>
            <c:bubble3D val="1"/>
            <c:spPr>
              <a:blipFill dpi="0" rotWithShape="0">
                <a:blip xmlns:r="http://schemas.openxmlformats.org/officeDocument/2006/relationships" r:embed="rId4"/>
                <a:srcRect/>
                <a:stretch>
                  <a:fillRect/>
                </a:stretch>
              </a:blipFill>
              <a:ln w="25400">
                <a:noFill/>
              </a:ln>
            </c:spPr>
            <c:pictureOptions>
              <c:pictureFormat val="stretch"/>
            </c:pictureOptions>
            <c:extLst>
              <c:ext xmlns:c16="http://schemas.microsoft.com/office/drawing/2014/chart" uri="{C3380CC4-5D6E-409C-BE32-E72D297353CC}">
                <c16:uniqueId val="{00000007-3885-4B19-9E5C-4888E06B42E2}"/>
              </c:ext>
            </c:extLst>
          </c:dPt>
          <c:dPt>
            <c:idx val="4"/>
            <c:invertIfNegative val="0"/>
            <c:bubble3D val="1"/>
            <c:spPr>
              <a:blipFill dpi="0" rotWithShape="0">
                <a:blip xmlns:r="http://schemas.openxmlformats.org/officeDocument/2006/relationships" r:embed="rId5"/>
                <a:srcRect/>
                <a:stretch>
                  <a:fillRect/>
                </a:stretch>
              </a:blipFill>
              <a:ln w="25400">
                <a:noFill/>
              </a:ln>
            </c:spPr>
            <c:pictureOptions>
              <c:pictureFormat val="stretch"/>
            </c:pictureOptions>
            <c:extLst>
              <c:ext xmlns:c16="http://schemas.microsoft.com/office/drawing/2014/chart" uri="{C3380CC4-5D6E-409C-BE32-E72D297353CC}">
                <c16:uniqueId val="{00000009-3885-4B19-9E5C-4888E06B42E2}"/>
              </c:ext>
            </c:extLst>
          </c:dPt>
          <c:dPt>
            <c:idx val="5"/>
            <c:invertIfNegative val="0"/>
            <c:bubble3D val="1"/>
            <c:spPr>
              <a:solidFill>
                <a:srgbClr val="7030A0"/>
              </a:solidFill>
              <a:ln w="25400">
                <a:noFill/>
              </a:ln>
            </c:spPr>
            <c:extLst>
              <c:ext xmlns:c16="http://schemas.microsoft.com/office/drawing/2014/chart" uri="{C3380CC4-5D6E-409C-BE32-E72D297353CC}">
                <c16:uniqueId val="{0000000B-3885-4B19-9E5C-4888E06B42E2}"/>
              </c:ext>
            </c:extLst>
          </c:dPt>
          <c:dPt>
            <c:idx val="6"/>
            <c:invertIfNegative val="0"/>
            <c:bubble3D val="1"/>
            <c:spPr>
              <a:blipFill dpi="0" rotWithShape="0">
                <a:blip xmlns:r="http://schemas.openxmlformats.org/officeDocument/2006/relationships" r:embed="rId6"/>
                <a:srcRect/>
                <a:stretch>
                  <a:fillRect/>
                </a:stretch>
              </a:blipFill>
              <a:ln w="25400">
                <a:noFill/>
              </a:ln>
            </c:spPr>
            <c:pictureOptions>
              <c:pictureFormat val="stretch"/>
            </c:pictureOptions>
            <c:extLst>
              <c:ext xmlns:c16="http://schemas.microsoft.com/office/drawing/2014/chart" uri="{C3380CC4-5D6E-409C-BE32-E72D297353CC}">
                <c16:uniqueId val="{0000000D-3885-4B19-9E5C-4888E06B42E2}"/>
              </c:ext>
            </c:extLst>
          </c:dPt>
          <c:dPt>
            <c:idx val="8"/>
            <c:invertIfNegative val="0"/>
            <c:bubble3D val="1"/>
            <c:spPr>
              <a:solidFill>
                <a:srgbClr val="7030A0"/>
              </a:solidFill>
              <a:ln w="25400">
                <a:noFill/>
              </a:ln>
            </c:spPr>
            <c:extLst>
              <c:ext xmlns:c16="http://schemas.microsoft.com/office/drawing/2014/chart" uri="{C3380CC4-5D6E-409C-BE32-E72D297353CC}">
                <c16:uniqueId val="{0000000F-3885-4B19-9E5C-4888E06B42E2}"/>
              </c:ext>
            </c:extLst>
          </c:dPt>
          <c:dPt>
            <c:idx val="10"/>
            <c:invertIfNegative val="0"/>
            <c:bubble3D val="1"/>
            <c:spPr>
              <a:solidFill>
                <a:schemeClr val="accent2"/>
              </a:solidFill>
              <a:ln w="25400">
                <a:noFill/>
              </a:ln>
            </c:spPr>
            <c:extLst>
              <c:ext xmlns:c16="http://schemas.microsoft.com/office/drawing/2014/chart" uri="{C3380CC4-5D6E-409C-BE32-E72D297353CC}">
                <c16:uniqueId val="{00000011-3885-4B19-9E5C-4888E06B42E2}"/>
              </c:ext>
            </c:extLst>
          </c:dPt>
          <c:xVal>
            <c:numRef>
              <c:f>TABLE!$C$22:$C$32</c:f>
              <c:numCache>
                <c:formatCode>[$-F400]h:mm:ss\ AM/PM</c:formatCode>
                <c:ptCount val="11"/>
                <c:pt idx="0">
                  <c:v>9.6160390500506607E-2</c:v>
                </c:pt>
                <c:pt idx="1">
                  <c:v>6.2588693724437414E-2</c:v>
                </c:pt>
                <c:pt idx="2">
                  <c:v>8.2505387609566092E-2</c:v>
                </c:pt>
                <c:pt idx="3">
                  <c:v>6.0279512923286906E-2</c:v>
                </c:pt>
                <c:pt idx="4">
                  <c:v>7.5419427913760148E-2</c:v>
                </c:pt>
                <c:pt idx="5">
                  <c:v>1.1656093321850422E-2</c:v>
                </c:pt>
                <c:pt idx="6">
                  <c:v>7.1733378871046374E-2</c:v>
                </c:pt>
                <c:pt idx="7">
                  <c:v>1.30445609218821E-2</c:v>
                </c:pt>
                <c:pt idx="8">
                  <c:v>0.10333125527673771</c:v>
                </c:pt>
                <c:pt idx="9">
                  <c:v>2.0867567378054491E-3</c:v>
                </c:pt>
                <c:pt idx="10">
                  <c:v>5.6875613226639025E-2</c:v>
                </c:pt>
              </c:numCache>
            </c:numRef>
          </c:xVal>
          <c:yVal>
            <c:numRef>
              <c:f>TABLE!$D$22:$D$32</c:f>
              <c:numCache>
                <c:formatCode>_-* #,##0\ _k_r_-;\-* #,##0\ _k_r_-;_-* "-"??\ _k_r_-;_-@_-</c:formatCode>
                <c:ptCount val="11"/>
                <c:pt idx="0">
                  <c:v>4637.27381369863</c:v>
                </c:pt>
                <c:pt idx="1">
                  <c:v>2834.8373753424657</c:v>
                </c:pt>
                <c:pt idx="2">
                  <c:v>3325.1411780821918</c:v>
                </c:pt>
                <c:pt idx="3">
                  <c:v>1055.5194438356164</c:v>
                </c:pt>
                <c:pt idx="4">
                  <c:v>1248.5780301369864</c:v>
                </c:pt>
                <c:pt idx="5">
                  <c:v>15.563117808219179</c:v>
                </c:pt>
                <c:pt idx="6">
                  <c:v>1508.9754136986301</c:v>
                </c:pt>
                <c:pt idx="7">
                  <c:v>19.911698630136986</c:v>
                </c:pt>
                <c:pt idx="8">
                  <c:v>34.828084931506851</c:v>
                </c:pt>
                <c:pt idx="9">
                  <c:v>1.9358958904109589</c:v>
                </c:pt>
                <c:pt idx="10">
                  <c:v>73.077715068493148</c:v>
                </c:pt>
              </c:numCache>
            </c:numRef>
          </c:yVal>
          <c:bubbleSize>
            <c:numRef>
              <c:f>TABLE!$E$22:$E$32</c:f>
              <c:numCache>
                <c:formatCode>_-* #,##0\ _k_r_-;\-* #,##0\ _k_r_-;_-* "-"??\ _k_r_-;_-@_-</c:formatCode>
                <c:ptCount val="11"/>
                <c:pt idx="0">
                  <c:v>448.69287671232877</c:v>
                </c:pt>
                <c:pt idx="1">
                  <c:v>181.67945205479452</c:v>
                </c:pt>
                <c:pt idx="2">
                  <c:v>275.39397260273972</c:v>
                </c:pt>
                <c:pt idx="3">
                  <c:v>64.313698630136983</c:v>
                </c:pt>
                <c:pt idx="4">
                  <c:v>94.544383561643826</c:v>
                </c:pt>
                <c:pt idx="5">
                  <c:v>0.24876712328767123</c:v>
                </c:pt>
                <c:pt idx="6">
                  <c:v>108.51972602739727</c:v>
                </c:pt>
                <c:pt idx="7">
                  <c:v>0.32136986301369863</c:v>
                </c:pt>
                <c:pt idx="8">
                  <c:v>4.0476712328767119</c:v>
                </c:pt>
                <c:pt idx="9">
                  <c:v>3.1232876712328769E-2</c:v>
                </c:pt>
                <c:pt idx="10">
                  <c:v>4.2679452054794522</c:v>
                </c:pt>
              </c:numCache>
            </c:numRef>
          </c:bubbleSize>
          <c:bubble3D val="1"/>
          <c:extLst>
            <c:ext xmlns:c16="http://schemas.microsoft.com/office/drawing/2014/chart" uri="{C3380CC4-5D6E-409C-BE32-E72D297353CC}">
              <c16:uniqueId val="{00000012-3885-4B19-9E5C-4888E06B42E2}"/>
            </c:ext>
          </c:extLst>
        </c:ser>
        <c:dLbls>
          <c:showLegendKey val="0"/>
          <c:showVal val="0"/>
          <c:showCatName val="0"/>
          <c:showSerName val="0"/>
          <c:showPercent val="0"/>
          <c:showBubbleSize val="0"/>
        </c:dLbls>
        <c:bubbleScale val="100"/>
        <c:showNegBubbles val="0"/>
        <c:axId val="830525280"/>
        <c:axId val="1"/>
      </c:bubbleChart>
      <c:valAx>
        <c:axId val="830525280"/>
        <c:scaling>
          <c:orientation val="minMax"/>
          <c:min val="0"/>
        </c:scaling>
        <c:delete val="0"/>
        <c:axPos val="b"/>
        <c:title>
          <c:tx>
            <c:rich>
              <a:bodyPr/>
              <a:lstStyle/>
              <a:p>
                <a:pPr>
                  <a:defRPr sz="1000" b="1" i="0" u="none" strike="noStrike" baseline="0">
                    <a:solidFill>
                      <a:srgbClr val="000000"/>
                    </a:solidFill>
                    <a:latin typeface="+mj-lt"/>
                    <a:ea typeface="Calibri"/>
                    <a:cs typeface="Calibri"/>
                  </a:defRPr>
                </a:pPr>
                <a:r>
                  <a:rPr lang="en-GB">
                    <a:latin typeface="+mj-lt"/>
                  </a:rPr>
                  <a:t>AVE TIME VIEWED PER </a:t>
                </a:r>
                <a:r>
                  <a:rPr lang="en-GB" u="sng">
                    <a:latin typeface="+mj-lt"/>
                  </a:rPr>
                  <a:t>VIEWER</a:t>
                </a:r>
                <a:r>
                  <a:rPr lang="en-GB">
                    <a:latin typeface="+mj-lt"/>
                  </a:rPr>
                  <a:t> PER DAY</a:t>
                </a:r>
              </a:p>
            </c:rich>
          </c:tx>
          <c:layout>
            <c:manualLayout>
              <c:xMode val="edge"/>
              <c:yMode val="edge"/>
              <c:x val="0.42408519178290155"/>
              <c:y val="0.94248530389540863"/>
            </c:manualLayout>
          </c:layout>
          <c:overlay val="0"/>
        </c:title>
        <c:numFmt formatCode="[$-F400]h:mm:ss\ AM/PM" sourceLinked="1"/>
        <c:majorTickMark val="none"/>
        <c:minorTickMark val="none"/>
        <c:tickLblPos val="nextTo"/>
        <c:spPr>
          <a:noFill/>
          <a:ln w="9525" cap="flat" cmpd="sng" algn="ctr">
            <a:solidFill>
              <a:schemeClr val="tx1">
                <a:lumMod val="25000"/>
                <a:lumOff val="75000"/>
              </a:schemeClr>
            </a:solidFill>
            <a:round/>
          </a:ln>
          <a:effectLst/>
        </c:spPr>
        <c:txPr>
          <a:bodyPr rot="0" vert="horz"/>
          <a:lstStyle/>
          <a:p>
            <a:pPr>
              <a:defRPr sz="1050" b="1" i="0" u="none" strike="noStrike" baseline="0">
                <a:solidFill>
                  <a:srgbClr val="333333"/>
                </a:solidFill>
                <a:latin typeface="+mj-lt"/>
                <a:ea typeface="Calibri"/>
                <a:cs typeface="Calibri"/>
              </a:defRPr>
            </a:pPr>
            <a:endParaRPr lang="en-US"/>
          </a:p>
        </c:txPr>
        <c:crossAx val="1"/>
        <c:crosses val="autoZero"/>
        <c:crossBetween val="midCat"/>
        <c:majorUnit val="2.0833000000000001E-2"/>
      </c:valAx>
      <c:valAx>
        <c:axId val="1"/>
        <c:scaling>
          <c:orientation val="minMax"/>
          <c:min val="0"/>
        </c:scaling>
        <c:delete val="0"/>
        <c:axPos val="l"/>
        <c:title>
          <c:tx>
            <c:rich>
              <a:bodyPr/>
              <a:lstStyle/>
              <a:p>
                <a:pPr>
                  <a:defRPr sz="1000" b="1" i="0" u="none" strike="noStrike" baseline="0">
                    <a:solidFill>
                      <a:srgbClr val="000000"/>
                    </a:solidFill>
                    <a:latin typeface="+mj-lt"/>
                    <a:ea typeface="Calibri"/>
                    <a:cs typeface="Calibri"/>
                  </a:defRPr>
                </a:pPr>
                <a:r>
                  <a:rPr lang="en-GB">
                    <a:latin typeface="+mj-lt"/>
                  </a:rPr>
                  <a:t>AVERAGE DAILY REACH (000s)</a:t>
                </a:r>
              </a:p>
            </c:rich>
          </c:tx>
          <c:layout>
            <c:manualLayout>
              <c:xMode val="edge"/>
              <c:yMode val="edge"/>
              <c:x val="1.9304805758441835E-2"/>
              <c:y val="0.25597282556231299"/>
            </c:manualLayout>
          </c:layout>
          <c:overlay val="0"/>
        </c:title>
        <c:numFmt formatCode="_-* #,##0\ _k_r_-;\-* #,##0\ _k_r_-;_-* &quot;-&quot;??\ _k_r_-;_-@_-" sourceLinked="1"/>
        <c:majorTickMark val="none"/>
        <c:minorTickMark val="none"/>
        <c:tickLblPos val="nextTo"/>
        <c:spPr>
          <a:noFill/>
          <a:ln w="9525" cap="flat" cmpd="sng" algn="ctr">
            <a:solidFill>
              <a:schemeClr val="tx1">
                <a:lumMod val="25000"/>
                <a:lumOff val="75000"/>
              </a:schemeClr>
            </a:solidFill>
            <a:round/>
          </a:ln>
          <a:effectLst/>
        </c:spPr>
        <c:txPr>
          <a:bodyPr rot="0" vert="horz"/>
          <a:lstStyle/>
          <a:p>
            <a:pPr>
              <a:defRPr sz="1050" b="1" i="0" u="none" strike="noStrike" baseline="0">
                <a:solidFill>
                  <a:srgbClr val="333333"/>
                </a:solidFill>
                <a:latin typeface="+mj-lt"/>
                <a:ea typeface="Calibri"/>
                <a:cs typeface="Calibri"/>
              </a:defRPr>
            </a:pPr>
            <a:endParaRPr lang="en-US"/>
          </a:p>
        </c:txPr>
        <c:crossAx val="830525280"/>
        <c:crosses val="autoZero"/>
        <c:crossBetween val="midCat"/>
      </c:valAx>
      <c:spPr>
        <a:noFill/>
        <a:ln w="25400">
          <a:noFill/>
        </a:ln>
      </c:spPr>
    </c:plotArea>
    <c:plotVisOnly val="1"/>
    <c:dispBlanksAs val="gap"/>
    <c:showDLblsOverMax val="0"/>
  </c:chart>
  <c:spPr>
    <a:noFill/>
    <a:ln w="9525" cap="flat" cmpd="sng" algn="ctr">
      <a:noFill/>
      <a:round/>
    </a:ln>
    <a:effectLst/>
  </c:spPr>
  <c:txPr>
    <a:bodyPr/>
    <a:lstStyle/>
    <a:p>
      <a:pPr>
        <a:defRPr sz="1000" b="0" i="0" u="none" strike="noStrike" baseline="0">
          <a:solidFill>
            <a:srgbClr val="000000"/>
          </a:solidFill>
          <a:latin typeface="Calibri"/>
          <a:ea typeface="Calibri"/>
          <a:cs typeface="Calibri"/>
        </a:defRPr>
      </a:pPr>
      <a:endParaRPr lang="en-US"/>
    </a:p>
  </c:txPr>
  <c:externalData r:id="rId7">
    <c:autoUpdate val="0"/>
  </c:externalData>
  <c:userShapes r:id="rId8"/>
</c:chartSpace>
</file>

<file path=ppt/drawings/_rels/drawing1.xml.rels><?xml version="1.0" encoding="UTF-8" standalone="yes"?>
<Relationships xmlns="http://schemas.openxmlformats.org/package/2006/relationships"><Relationship Id="rId1" Type="http://schemas.openxmlformats.org/officeDocument/2006/relationships/image" Target="../media/image18.png"/></Relationships>
</file>

<file path=ppt/drawings/_rels/drawing3.xml.rels><?xml version="1.0" encoding="UTF-8" standalone="yes"?>
<Relationships xmlns="http://schemas.openxmlformats.org/package/2006/relationships"><Relationship Id="rId1" Type="http://schemas.openxmlformats.org/officeDocument/2006/relationships/image" Target="../media/image18.png"/></Relationships>
</file>

<file path=ppt/drawings/drawing1.xml><?xml version="1.0" encoding="utf-8"?>
<c:userShapes xmlns:c="http://schemas.openxmlformats.org/drawingml/2006/chart">
  <cdr:relSizeAnchor xmlns:cdr="http://schemas.openxmlformats.org/drawingml/2006/chartDrawing">
    <cdr:from>
      <cdr:x>0.60384</cdr:x>
      <cdr:y>0.76442</cdr:y>
    </cdr:from>
    <cdr:to>
      <cdr:x>0.63057</cdr:x>
      <cdr:y>0.79601</cdr:y>
    </cdr:to>
    <cdr:pic>
      <cdr:nvPicPr>
        <cdr:cNvPr id="3" name="chart">
          <a:extLst xmlns:a="http://schemas.openxmlformats.org/drawingml/2006/main">
            <a:ext uri="{FF2B5EF4-FFF2-40B4-BE49-F238E27FC236}">
              <a16:creationId xmlns:a16="http://schemas.microsoft.com/office/drawing/2014/main" id="{5483F8E7-E44C-347E-E9C0-FCCB3F7D0CD5}"/>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6845337" y="3167435"/>
          <a:ext cx="303022" cy="130911"/>
        </a:xfrm>
        <a:prstGeom xmlns:a="http://schemas.openxmlformats.org/drawingml/2006/main" prst="rect">
          <a:avLst/>
        </a:prstGeom>
      </cdr:spPr>
    </cdr:pic>
  </cdr:relSizeAnchor>
  <cdr:relSizeAnchor xmlns:cdr="http://schemas.openxmlformats.org/drawingml/2006/chartDrawing">
    <cdr:from>
      <cdr:x>0.5832</cdr:x>
      <cdr:y>0.79962</cdr:y>
    </cdr:from>
    <cdr:to>
      <cdr:x>0.59887</cdr:x>
      <cdr:y>0.82074</cdr:y>
    </cdr:to>
    <cdr:cxnSp macro="">
      <cdr:nvCxnSpPr>
        <cdr:cNvPr id="4" name="Straight Arrow Connector 3">
          <a:extLst xmlns:a="http://schemas.openxmlformats.org/drawingml/2006/main">
            <a:ext uri="{FF2B5EF4-FFF2-40B4-BE49-F238E27FC236}">
              <a16:creationId xmlns:a16="http://schemas.microsoft.com/office/drawing/2014/main" id="{FEDC394F-7CD4-846F-1A59-61B20987D339}"/>
            </a:ext>
          </a:extLst>
        </cdr:cNvPr>
        <cdr:cNvCxnSpPr/>
      </cdr:nvCxnSpPr>
      <cdr:spPr>
        <a:xfrm xmlns:a="http://schemas.openxmlformats.org/drawingml/2006/main" flipH="1">
          <a:off x="6611414" y="3313295"/>
          <a:ext cx="177642" cy="87513"/>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40936</cdr:x>
      <cdr:y>0.80136</cdr:y>
    </cdr:from>
    <cdr:to>
      <cdr:x>0.42689</cdr:x>
      <cdr:y>0.8277</cdr:y>
    </cdr:to>
    <cdr:cxnSp macro="">
      <cdr:nvCxnSpPr>
        <cdr:cNvPr id="5" name="Straight Arrow Connector 4">
          <a:extLst xmlns:a="http://schemas.openxmlformats.org/drawingml/2006/main">
            <a:ext uri="{FF2B5EF4-FFF2-40B4-BE49-F238E27FC236}">
              <a16:creationId xmlns:a16="http://schemas.microsoft.com/office/drawing/2014/main" id="{5B111D02-C2DF-F6BD-79C3-6659B3D653FE}"/>
            </a:ext>
          </a:extLst>
        </cdr:cNvPr>
        <cdr:cNvCxnSpPr/>
      </cdr:nvCxnSpPr>
      <cdr:spPr>
        <a:xfrm xmlns:a="http://schemas.openxmlformats.org/drawingml/2006/main">
          <a:off x="4640616" y="3320502"/>
          <a:ext cx="198727" cy="109142"/>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34927</cdr:x>
      <cdr:y>0.74656</cdr:y>
    </cdr:from>
    <cdr:to>
      <cdr:x>0.42996</cdr:x>
      <cdr:y>0.80943</cdr:y>
    </cdr:to>
    <cdr:sp macro="" textlink="">
      <cdr:nvSpPr>
        <cdr:cNvPr id="8" name="TextBox 1"/>
        <cdr:cNvSpPr txBox="1"/>
      </cdr:nvSpPr>
      <cdr:spPr>
        <a:xfrm xmlns:a="http://schemas.openxmlformats.org/drawingml/2006/main">
          <a:off x="3959428" y="3093453"/>
          <a:ext cx="914734" cy="26050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100" b="1" dirty="0"/>
            <a:t>Other SVOD</a:t>
          </a:r>
        </a:p>
      </cdr:txBody>
    </cdr:sp>
  </cdr:relSizeAnchor>
  <cdr:relSizeAnchor xmlns:cdr="http://schemas.openxmlformats.org/drawingml/2006/chartDrawing">
    <cdr:from>
      <cdr:x>0.18835</cdr:x>
      <cdr:y>0.74656</cdr:y>
    </cdr:from>
    <cdr:to>
      <cdr:x>0.2427</cdr:x>
      <cdr:y>0.80943</cdr:y>
    </cdr:to>
    <cdr:sp macro="" textlink="">
      <cdr:nvSpPr>
        <cdr:cNvPr id="2" name="TextBox 1">
          <a:extLst xmlns:a="http://schemas.openxmlformats.org/drawingml/2006/main">
            <a:ext uri="{FF2B5EF4-FFF2-40B4-BE49-F238E27FC236}">
              <a16:creationId xmlns:a16="http://schemas.microsoft.com/office/drawing/2014/main" id="{C2251149-743D-6385-6338-43E485F71B42}"/>
            </a:ext>
          </a:extLst>
        </cdr:cNvPr>
        <cdr:cNvSpPr txBox="1"/>
      </cdr:nvSpPr>
      <cdr:spPr>
        <a:xfrm xmlns:a="http://schemas.openxmlformats.org/drawingml/2006/main">
          <a:off x="2135169" y="3093453"/>
          <a:ext cx="616198" cy="26050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100" b="1" dirty="0"/>
            <a:t>Other AVOD</a:t>
          </a:r>
        </a:p>
      </cdr:txBody>
    </cdr:sp>
  </cdr:relSizeAnchor>
  <cdr:relSizeAnchor xmlns:cdr="http://schemas.openxmlformats.org/drawingml/2006/chartDrawing">
    <cdr:from>
      <cdr:x>0.23551</cdr:x>
      <cdr:y>0.81377</cdr:y>
    </cdr:from>
    <cdr:to>
      <cdr:x>0.25086</cdr:x>
      <cdr:y>0.84087</cdr:y>
    </cdr:to>
    <cdr:cxnSp macro="">
      <cdr:nvCxnSpPr>
        <cdr:cNvPr id="6" name="Straight Arrow Connector 5">
          <a:extLst xmlns:a="http://schemas.openxmlformats.org/drawingml/2006/main">
            <a:ext uri="{FF2B5EF4-FFF2-40B4-BE49-F238E27FC236}">
              <a16:creationId xmlns:a16="http://schemas.microsoft.com/office/drawing/2014/main" id="{CD45FCD0-4BAA-768A-C94E-5B18B59D9E95}"/>
            </a:ext>
          </a:extLst>
        </cdr:cNvPr>
        <cdr:cNvCxnSpPr/>
      </cdr:nvCxnSpPr>
      <cdr:spPr>
        <a:xfrm xmlns:a="http://schemas.openxmlformats.org/drawingml/2006/main">
          <a:off x="2669789" y="3371925"/>
          <a:ext cx="174004" cy="112289"/>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15406</cdr:x>
      <cdr:y>0.28688</cdr:y>
    </cdr:from>
    <cdr:to>
      <cdr:x>0.31336</cdr:x>
      <cdr:y>0.35172</cdr:y>
    </cdr:to>
    <cdr:sp macro="" textlink="">
      <cdr:nvSpPr>
        <cdr:cNvPr id="2" name="TextBox 1"/>
        <cdr:cNvSpPr txBox="1"/>
      </cdr:nvSpPr>
      <cdr:spPr>
        <a:xfrm xmlns:a="http://schemas.openxmlformats.org/drawingml/2006/main">
          <a:off x="1746514" y="1188731"/>
          <a:ext cx="1805889" cy="26867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lnSpc>
              <a:spcPts val="1100"/>
            </a:lnSpc>
          </a:pPr>
          <a:r>
            <a:rPr lang="en-GB" sz="1100" b="1" dirty="0"/>
            <a:t>Bubble</a:t>
          </a:r>
          <a:r>
            <a:rPr lang="en-GB" sz="1100" b="1" baseline="0" dirty="0"/>
            <a:t> size represents total volume of daily viewing </a:t>
          </a:r>
          <a:endParaRPr lang="en-GB" sz="1100" b="1" dirty="0"/>
        </a:p>
      </cdr:txBody>
    </cdr:sp>
  </cdr:relSizeAnchor>
  <cdr:relSizeAnchor xmlns:cdr="http://schemas.openxmlformats.org/drawingml/2006/chartDrawing">
    <cdr:from>
      <cdr:x>0.4194</cdr:x>
      <cdr:y>0.77233</cdr:y>
    </cdr:from>
    <cdr:to>
      <cdr:x>0.5</cdr:x>
      <cdr:y>0.83718</cdr:y>
    </cdr:to>
    <cdr:sp macro="" textlink="">
      <cdr:nvSpPr>
        <cdr:cNvPr id="6" name="TextBox 1"/>
        <cdr:cNvSpPr txBox="1"/>
      </cdr:nvSpPr>
      <cdr:spPr>
        <a:xfrm xmlns:a="http://schemas.openxmlformats.org/drawingml/2006/main">
          <a:off x="4754486" y="3200229"/>
          <a:ext cx="913714" cy="26871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100" b="1" dirty="0"/>
            <a:t>Other SVOD</a:t>
          </a:r>
        </a:p>
      </cdr:txBody>
    </cdr:sp>
  </cdr:relSizeAnchor>
  <cdr:relSizeAnchor xmlns:cdr="http://schemas.openxmlformats.org/drawingml/2006/chartDrawing">
    <cdr:from>
      <cdr:x>0.48591</cdr:x>
      <cdr:y>0.83318</cdr:y>
    </cdr:from>
    <cdr:to>
      <cdr:x>0.5</cdr:x>
      <cdr:y>0.85239</cdr:y>
    </cdr:to>
    <cdr:cxnSp macro="">
      <cdr:nvCxnSpPr>
        <cdr:cNvPr id="8" name="Straight Arrow Connector 7">
          <a:extLst xmlns:a="http://schemas.openxmlformats.org/drawingml/2006/main">
            <a:ext uri="{FF2B5EF4-FFF2-40B4-BE49-F238E27FC236}">
              <a16:creationId xmlns:a16="http://schemas.microsoft.com/office/drawing/2014/main" id="{A50168DE-EAB0-03BE-47B1-4A4B0734CF87}"/>
            </a:ext>
          </a:extLst>
        </cdr:cNvPr>
        <cdr:cNvCxnSpPr/>
      </cdr:nvCxnSpPr>
      <cdr:spPr>
        <a:xfrm xmlns:a="http://schemas.openxmlformats.org/drawingml/2006/main">
          <a:off x="5508470" y="3452382"/>
          <a:ext cx="159730" cy="79598"/>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27133</cdr:x>
      <cdr:y>0.78459</cdr:y>
    </cdr:from>
    <cdr:to>
      <cdr:x>0.35951</cdr:x>
      <cdr:y>0.84944</cdr:y>
    </cdr:to>
    <cdr:sp macro="" textlink="">
      <cdr:nvSpPr>
        <cdr:cNvPr id="3" name="TextBox 1">
          <a:extLst xmlns:a="http://schemas.openxmlformats.org/drawingml/2006/main">
            <a:ext uri="{FF2B5EF4-FFF2-40B4-BE49-F238E27FC236}">
              <a16:creationId xmlns:a16="http://schemas.microsoft.com/office/drawing/2014/main" id="{15DBC8F6-7D72-9367-08CB-A76E43014F9F}"/>
            </a:ext>
          </a:extLst>
        </cdr:cNvPr>
        <cdr:cNvSpPr txBox="1"/>
      </cdr:nvSpPr>
      <cdr:spPr>
        <a:xfrm xmlns:a="http://schemas.openxmlformats.org/drawingml/2006/main">
          <a:off x="3075876" y="3251030"/>
          <a:ext cx="999717" cy="26871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100" b="1" dirty="0"/>
            <a:t>Dailymotion</a:t>
          </a:r>
        </a:p>
      </cdr:txBody>
    </cdr:sp>
  </cdr:relSizeAnchor>
  <cdr:relSizeAnchor xmlns:cdr="http://schemas.openxmlformats.org/drawingml/2006/chartDrawing">
    <cdr:from>
      <cdr:x>0.25724</cdr:x>
      <cdr:y>0.83825</cdr:y>
    </cdr:from>
    <cdr:to>
      <cdr:x>0.27272</cdr:x>
      <cdr:y>0.86465</cdr:y>
    </cdr:to>
    <cdr:cxnSp macro="">
      <cdr:nvCxnSpPr>
        <cdr:cNvPr id="4" name="Straight Arrow Connector 3">
          <a:extLst xmlns:a="http://schemas.openxmlformats.org/drawingml/2006/main">
            <a:ext uri="{FF2B5EF4-FFF2-40B4-BE49-F238E27FC236}">
              <a16:creationId xmlns:a16="http://schemas.microsoft.com/office/drawing/2014/main" id="{6643C47D-AD98-0832-0337-2E192FCC8DA6}"/>
            </a:ext>
          </a:extLst>
        </cdr:cNvPr>
        <cdr:cNvCxnSpPr/>
      </cdr:nvCxnSpPr>
      <cdr:spPr>
        <a:xfrm xmlns:a="http://schemas.openxmlformats.org/drawingml/2006/main" flipH="1">
          <a:off x="2916166" y="3473367"/>
          <a:ext cx="175456" cy="109413"/>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22362</cdr:x>
      <cdr:y>0.84544</cdr:y>
    </cdr:from>
    <cdr:to>
      <cdr:x>0.23454</cdr:x>
      <cdr:y>0.86972</cdr:y>
    </cdr:to>
    <cdr:cxnSp macro="">
      <cdr:nvCxnSpPr>
        <cdr:cNvPr id="7" name="Straight Arrow Connector 6">
          <a:extLst xmlns:a="http://schemas.openxmlformats.org/drawingml/2006/main">
            <a:ext uri="{FF2B5EF4-FFF2-40B4-BE49-F238E27FC236}">
              <a16:creationId xmlns:a16="http://schemas.microsoft.com/office/drawing/2014/main" id="{6B3E643A-05A6-974D-E42A-1419FD53BDE6}"/>
            </a:ext>
          </a:extLst>
        </cdr:cNvPr>
        <cdr:cNvCxnSpPr/>
      </cdr:nvCxnSpPr>
      <cdr:spPr>
        <a:xfrm xmlns:a="http://schemas.openxmlformats.org/drawingml/2006/main">
          <a:off x="2535030" y="3503185"/>
          <a:ext cx="123823" cy="100577"/>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1591</cdr:x>
      <cdr:y>0.75101</cdr:y>
    </cdr:from>
    <cdr:to>
      <cdr:x>0.2397</cdr:x>
      <cdr:y>0.81586</cdr:y>
    </cdr:to>
    <cdr:sp macro="" textlink="">
      <cdr:nvSpPr>
        <cdr:cNvPr id="10" name="TextBox 1">
          <a:extLst xmlns:a="http://schemas.openxmlformats.org/drawingml/2006/main">
            <a:ext uri="{FF2B5EF4-FFF2-40B4-BE49-F238E27FC236}">
              <a16:creationId xmlns:a16="http://schemas.microsoft.com/office/drawing/2014/main" id="{BFF2BE1C-BFD9-D0A4-E33F-58DF6EB21E1F}"/>
            </a:ext>
          </a:extLst>
        </cdr:cNvPr>
        <cdr:cNvSpPr txBox="1"/>
      </cdr:nvSpPr>
      <cdr:spPr>
        <a:xfrm xmlns:a="http://schemas.openxmlformats.org/drawingml/2006/main">
          <a:off x="1803668" y="3111881"/>
          <a:ext cx="913714" cy="26871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b="1" dirty="0"/>
            <a:t>Other </a:t>
          </a:r>
          <a:r>
            <a:rPr lang="en-GB" sz="1100" b="1" dirty="0"/>
            <a:t>AVOD</a:t>
          </a:r>
        </a:p>
      </cdr:txBody>
    </cdr:sp>
  </cdr:relSizeAnchor>
</c:userShapes>
</file>

<file path=ppt/drawings/drawing3.xml><?xml version="1.0" encoding="utf-8"?>
<c:userShapes xmlns:c="http://schemas.openxmlformats.org/drawingml/2006/chart">
  <cdr:relSizeAnchor xmlns:cdr="http://schemas.openxmlformats.org/drawingml/2006/chartDrawing">
    <cdr:from>
      <cdr:x>0.75684</cdr:x>
      <cdr:y>0.84033</cdr:y>
    </cdr:from>
    <cdr:to>
      <cdr:x>0.77094</cdr:x>
      <cdr:y>0.85955</cdr:y>
    </cdr:to>
    <cdr:cxnSp macro="">
      <cdr:nvCxnSpPr>
        <cdr:cNvPr id="3" name="Straight Arrow Connector 2">
          <a:extLst xmlns:a="http://schemas.openxmlformats.org/drawingml/2006/main">
            <a:ext uri="{FF2B5EF4-FFF2-40B4-BE49-F238E27FC236}">
              <a16:creationId xmlns:a16="http://schemas.microsoft.com/office/drawing/2014/main" id="{A2D29616-F146-F44E-69FC-38448559E2CB}"/>
            </a:ext>
          </a:extLst>
        </cdr:cNvPr>
        <cdr:cNvCxnSpPr/>
      </cdr:nvCxnSpPr>
      <cdr:spPr>
        <a:xfrm xmlns:a="http://schemas.openxmlformats.org/drawingml/2006/main">
          <a:off x="7024222" y="5079488"/>
          <a:ext cx="130862" cy="116178"/>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71618</cdr:x>
      <cdr:y>0.79005</cdr:y>
    </cdr:from>
    <cdr:to>
      <cdr:x>0.75234</cdr:x>
      <cdr:y>0.82386</cdr:y>
    </cdr:to>
    <cdr:pic>
      <cdr:nvPicPr>
        <cdr:cNvPr id="4" name="chart">
          <a:extLst xmlns:a="http://schemas.openxmlformats.org/drawingml/2006/main">
            <a:ext uri="{FF2B5EF4-FFF2-40B4-BE49-F238E27FC236}">
              <a16:creationId xmlns:a16="http://schemas.microsoft.com/office/drawing/2014/main" id="{88876C20-C130-9142-DE09-9D646D03CE66}"/>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6646904" y="4775538"/>
          <a:ext cx="335601" cy="204369"/>
        </a:xfrm>
        <a:prstGeom xmlns:a="http://schemas.openxmlformats.org/drawingml/2006/main" prst="rect">
          <a:avLst/>
        </a:prstGeom>
      </cdr:spPr>
    </cdr:pic>
  </cdr:relSizeAnchor>
  <cdr:relSizeAnchor xmlns:cdr="http://schemas.openxmlformats.org/drawingml/2006/chartDrawing">
    <cdr:from>
      <cdr:x>0.3938</cdr:x>
      <cdr:y>0.74523</cdr:y>
    </cdr:from>
    <cdr:to>
      <cdr:x>0.47223</cdr:x>
      <cdr:y>0.80908</cdr:y>
    </cdr:to>
    <cdr:sp macro="" textlink="">
      <cdr:nvSpPr>
        <cdr:cNvPr id="5" name="TextBox 1"/>
        <cdr:cNvSpPr txBox="1"/>
      </cdr:nvSpPr>
      <cdr:spPr>
        <a:xfrm xmlns:a="http://schemas.openxmlformats.org/drawingml/2006/main">
          <a:off x="4464219" y="3087942"/>
          <a:ext cx="889114" cy="26456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100" b="1" dirty="0"/>
            <a:t>Other SVOD</a:t>
          </a:r>
        </a:p>
      </cdr:txBody>
    </cdr:sp>
  </cdr:relSizeAnchor>
  <cdr:relSizeAnchor xmlns:cdr="http://schemas.openxmlformats.org/drawingml/2006/chartDrawing">
    <cdr:from>
      <cdr:x>0.46028</cdr:x>
      <cdr:y>0.81689</cdr:y>
    </cdr:from>
    <cdr:to>
      <cdr:x>0.47338</cdr:x>
      <cdr:y>0.8351</cdr:y>
    </cdr:to>
    <cdr:cxnSp macro="">
      <cdr:nvCxnSpPr>
        <cdr:cNvPr id="6" name="Straight Arrow Connector 5">
          <a:extLst xmlns:a="http://schemas.openxmlformats.org/drawingml/2006/main">
            <a:ext uri="{FF2B5EF4-FFF2-40B4-BE49-F238E27FC236}">
              <a16:creationId xmlns:a16="http://schemas.microsoft.com/office/drawing/2014/main" id="{F2CA961C-73EC-D8DF-AA84-D5D6E967EE02}"/>
            </a:ext>
          </a:extLst>
        </cdr:cNvPr>
        <cdr:cNvCxnSpPr/>
      </cdr:nvCxnSpPr>
      <cdr:spPr>
        <a:xfrm xmlns:a="http://schemas.openxmlformats.org/drawingml/2006/main">
          <a:off x="5217905" y="3384868"/>
          <a:ext cx="148506" cy="75455"/>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11686</cdr:x>
      <cdr:y>0.76588</cdr:y>
    </cdr:from>
    <cdr:to>
      <cdr:x>0.19529</cdr:x>
      <cdr:y>0.82973</cdr:y>
    </cdr:to>
    <cdr:sp macro="" textlink="">
      <cdr:nvSpPr>
        <cdr:cNvPr id="7" name="TextBox 1">
          <a:extLst xmlns:a="http://schemas.openxmlformats.org/drawingml/2006/main">
            <a:ext uri="{FF2B5EF4-FFF2-40B4-BE49-F238E27FC236}">
              <a16:creationId xmlns:a16="http://schemas.microsoft.com/office/drawing/2014/main" id="{0F687912-3229-49B4-4497-C89A6489F965}"/>
            </a:ext>
          </a:extLst>
        </cdr:cNvPr>
        <cdr:cNvSpPr txBox="1"/>
      </cdr:nvSpPr>
      <cdr:spPr>
        <a:xfrm xmlns:a="http://schemas.openxmlformats.org/drawingml/2006/main">
          <a:off x="1324797" y="3173493"/>
          <a:ext cx="889114" cy="26456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100" b="1" dirty="0"/>
            <a:t>Other AVOD</a:t>
          </a:r>
        </a:p>
      </cdr:txBody>
    </cdr:sp>
  </cdr:relSizeAnchor>
  <cdr:relSizeAnchor xmlns:cdr="http://schemas.openxmlformats.org/drawingml/2006/chartDrawing">
    <cdr:from>
      <cdr:x>0.18335</cdr:x>
      <cdr:y>0.83754</cdr:y>
    </cdr:from>
    <cdr:to>
      <cdr:x>0.19645</cdr:x>
      <cdr:y>0.85575</cdr:y>
    </cdr:to>
    <cdr:cxnSp macro="">
      <cdr:nvCxnSpPr>
        <cdr:cNvPr id="8" name="Straight Arrow Connector 7">
          <a:extLst xmlns:a="http://schemas.openxmlformats.org/drawingml/2006/main">
            <a:ext uri="{FF2B5EF4-FFF2-40B4-BE49-F238E27FC236}">
              <a16:creationId xmlns:a16="http://schemas.microsoft.com/office/drawing/2014/main" id="{AE60ABC0-953D-BE50-D27D-C9A36B388558}"/>
            </a:ext>
          </a:extLst>
        </cdr:cNvPr>
        <cdr:cNvCxnSpPr/>
      </cdr:nvCxnSpPr>
      <cdr:spPr>
        <a:xfrm xmlns:a="http://schemas.openxmlformats.org/drawingml/2006/main">
          <a:off x="2078483" y="3470419"/>
          <a:ext cx="148506" cy="75455"/>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3EFC4F07-DC05-45AA-A1F3-85AC88F2FECC}" type="datetimeFigureOut">
              <a:rPr lang="en-GB" smtClean="0"/>
              <a:t>29/11/2023</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9BF2D90E-523F-45FB-AEC1-23DAC667075A}" type="slidenum">
              <a:rPr lang="en-GB" smtClean="0"/>
              <a:t>‹#›</a:t>
            </a:fld>
            <a:endParaRPr lang="en-GB"/>
          </a:p>
        </p:txBody>
      </p:sp>
    </p:spTree>
    <p:extLst>
      <p:ext uri="{BB962C8B-B14F-4D97-AF65-F5344CB8AC3E}">
        <p14:creationId xmlns:p14="http://schemas.microsoft.com/office/powerpoint/2010/main" val="34131289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2800" b="0" i="0">
                <a:solidFill>
                  <a:srgbClr val="323A4E"/>
                </a:solidFill>
                <a:effectLst/>
                <a:latin typeface="proxima-nova"/>
              </a:rPr>
              <a:t>This chart breaks down viewing to the various platforms in terms of the average number of people watching per day (for at least 3 minutes) compared with the average time spent watching per viewer (i.e. only counting those who watched on that day).</a:t>
            </a:r>
          </a:p>
          <a:p>
            <a:pPr algn="l"/>
            <a:endParaRPr lang="en-GB" sz="2800" b="0" i="0">
              <a:solidFill>
                <a:srgbClr val="323A4E"/>
              </a:solidFill>
              <a:effectLst/>
              <a:latin typeface="proxima-nova"/>
            </a:endParaRPr>
          </a:p>
          <a:p>
            <a:pPr algn="l"/>
            <a:r>
              <a:rPr lang="en-GB" sz="2800" b="0" i="0">
                <a:solidFill>
                  <a:srgbClr val="323A4E"/>
                </a:solidFill>
                <a:effectLst/>
                <a:latin typeface="proxima-nova"/>
              </a:rPr>
              <a:t>Analysis across 2022 shows that the commercial broadcasters (linear and on demand) collectively reach just over 33 million viewers every day, with each of those viewers watching for an average of 3hrs, 25 mins a day. The combined portfolio of BBC channels (linear and on demand) attracts the second largest volume of viewing, with 27 million daily reach and an average view time of just over 2 hours.  YouTube is next, with a daily reach of 20 million people and a view time of 1hr 42 mins (Barb only measure in-home viewing, we estimate that YouTube would be circa. 25% larger in viewing time if out of home viewing was included).</a:t>
            </a:r>
          </a:p>
          <a:p>
            <a:pPr algn="l"/>
            <a:endParaRPr lang="en-GB" sz="2800" b="0" i="0">
              <a:solidFill>
                <a:srgbClr val="323A4E"/>
              </a:solidFill>
              <a:effectLst/>
              <a:latin typeface="proxima-nova"/>
            </a:endParaRPr>
          </a:p>
          <a:p>
            <a:pPr algn="l"/>
            <a:r>
              <a:rPr lang="en-GB" sz="2800" b="0" i="0">
                <a:solidFill>
                  <a:srgbClr val="323A4E"/>
                </a:solidFill>
                <a:effectLst/>
                <a:latin typeface="proxima-nova"/>
              </a:rPr>
              <a:t>SVOD services such as Netflix has a daily reach of 12.4 million people and a view time of 1hr 47 mins, whilst other AVOD services (covering Chili, Rakuten TV, Samsung TV Plus, Red Bull TV, </a:t>
            </a:r>
            <a:r>
              <a:rPr lang="en-GB" sz="2800" b="0" i="0" err="1">
                <a:solidFill>
                  <a:srgbClr val="323A4E"/>
                </a:solidFill>
                <a:effectLst/>
                <a:latin typeface="proxima-nova"/>
              </a:rPr>
              <a:t>TVPlayer</a:t>
            </a:r>
            <a:r>
              <a:rPr lang="en-GB" sz="2800" b="0" i="0">
                <a:solidFill>
                  <a:srgbClr val="323A4E"/>
                </a:solidFill>
                <a:effectLst/>
                <a:latin typeface="proxima-nova"/>
              </a:rPr>
              <a:t>, Vevo, W4FREE, and </a:t>
            </a:r>
            <a:r>
              <a:rPr lang="en-GB" sz="2800" b="0" i="0" err="1">
                <a:solidFill>
                  <a:srgbClr val="323A4E"/>
                </a:solidFill>
                <a:effectLst/>
                <a:latin typeface="proxima-nova"/>
              </a:rPr>
              <a:t>YuppTV</a:t>
            </a:r>
            <a:r>
              <a:rPr lang="en-GB" sz="2800" b="0" i="0">
                <a:solidFill>
                  <a:srgbClr val="323A4E"/>
                </a:solidFill>
                <a:effectLst/>
                <a:latin typeface="proxima-nova"/>
              </a:rPr>
              <a:t>) have a collective average daily reach of 83,000 viewers and a view time of 38 mins a day.</a:t>
            </a:r>
          </a:p>
          <a:p>
            <a:pPr algn="just"/>
            <a:endParaRPr lang="en-GB" sz="180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fld id="{9BF2D90E-523F-45FB-AEC1-23DAC667075A}" type="slidenum">
              <a:rPr lang="en-GB" smtClean="0"/>
              <a:t>1</a:t>
            </a:fld>
            <a:endParaRPr lang="en-GB"/>
          </a:p>
        </p:txBody>
      </p:sp>
    </p:spTree>
    <p:extLst>
      <p:ext uri="{BB962C8B-B14F-4D97-AF65-F5344CB8AC3E}">
        <p14:creationId xmlns:p14="http://schemas.microsoft.com/office/powerpoint/2010/main" val="19432860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1200" b="0" i="0" dirty="0">
                <a:solidFill>
                  <a:srgbClr val="323A4E"/>
                </a:solidFill>
                <a:effectLst/>
                <a:latin typeface="proxima-nova"/>
              </a:rPr>
              <a:t>This chart breaks down viewing to the various platforms in terms of the average number of 16-34s watching per day (for at least 3 minutes) compared with the average time spent watching per viewer (i.e. only counting those who watched on that day).</a:t>
            </a:r>
          </a:p>
          <a:p>
            <a:pPr algn="l"/>
            <a:endParaRPr lang="en-GB" sz="1200" b="0" i="0" dirty="0">
              <a:solidFill>
                <a:srgbClr val="323A4E"/>
              </a:solidFill>
              <a:effectLst/>
              <a:latin typeface="proxima-nova"/>
            </a:endParaRPr>
          </a:p>
          <a:p>
            <a:pPr algn="l"/>
            <a:r>
              <a:rPr lang="en-GB" sz="1200" b="0" i="0" dirty="0">
                <a:solidFill>
                  <a:srgbClr val="323A4E"/>
                </a:solidFill>
                <a:effectLst/>
                <a:latin typeface="proxima-nova"/>
              </a:rPr>
              <a:t>Analysis across 2022 shows that the commercial broadcasters (linear and on demand) collectively reach just over 4.9 million viewers every day, with each of those viewers watching for an average of 2hrs, 18 mins a day. The combined portfolio of BBC channels (linear and on demand) has a daily reach of 3 million and an average view time of 1hr 30 mins.  YouTube has a daily reach of 6 million people and a view time of 1hr 51 mins (Barb only measure in-home viewing, we estimate that YouTube would be circa. 25% larger in viewing time if out of home viewing was included).</a:t>
            </a:r>
          </a:p>
          <a:p>
            <a:pPr algn="l"/>
            <a:endParaRPr lang="en-GB" sz="1200" b="0" i="0" dirty="0">
              <a:solidFill>
                <a:srgbClr val="323A4E"/>
              </a:solidFill>
              <a:effectLst/>
              <a:latin typeface="proxima-nova"/>
            </a:endParaRPr>
          </a:p>
          <a:p>
            <a:endParaRPr lang="en-GB" dirty="0"/>
          </a:p>
        </p:txBody>
      </p:sp>
      <p:sp>
        <p:nvSpPr>
          <p:cNvPr id="4" name="Slide Number Placeholder 3"/>
          <p:cNvSpPr>
            <a:spLocks noGrp="1"/>
          </p:cNvSpPr>
          <p:nvPr>
            <p:ph type="sldNum" sz="quarter" idx="5"/>
          </p:nvPr>
        </p:nvSpPr>
        <p:spPr/>
        <p:txBody>
          <a:bodyPr/>
          <a:lstStyle/>
          <a:p>
            <a:fld id="{DBC01CE4-3762-45B6-9736-1C63892740C8}" type="slidenum">
              <a:rPr lang="en-GB" smtClean="0"/>
              <a:t>2</a:t>
            </a:fld>
            <a:endParaRPr lang="en-GB"/>
          </a:p>
        </p:txBody>
      </p:sp>
    </p:spTree>
    <p:extLst>
      <p:ext uri="{BB962C8B-B14F-4D97-AF65-F5344CB8AC3E}">
        <p14:creationId xmlns:p14="http://schemas.microsoft.com/office/powerpoint/2010/main" val="17756758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1200" b="0" i="0" dirty="0">
                <a:solidFill>
                  <a:srgbClr val="323A4E"/>
                </a:solidFill>
                <a:effectLst/>
                <a:latin typeface="proxima-nova"/>
              </a:rPr>
              <a:t>This chart breaks down viewing to the various platforms in terms of the average number of 16-34s watching per day (for at least 3 minutes) on a TV set compared with the average time spent watching per viewer (i.e. only counting those who watched on that day).</a:t>
            </a:r>
          </a:p>
          <a:p>
            <a:pPr algn="l"/>
            <a:endParaRPr lang="en-GB" sz="1200" b="0" i="0" dirty="0">
              <a:solidFill>
                <a:srgbClr val="323A4E"/>
              </a:solidFill>
              <a:effectLst/>
              <a:latin typeface="proxima-nova"/>
            </a:endParaRPr>
          </a:p>
          <a:p>
            <a:pPr algn="l"/>
            <a:r>
              <a:rPr lang="en-GB" sz="1200" b="0" i="0" dirty="0">
                <a:solidFill>
                  <a:srgbClr val="323A4E"/>
                </a:solidFill>
                <a:effectLst/>
                <a:latin typeface="proxima-nova"/>
              </a:rPr>
              <a:t>Analysis across 2022 shows that the commercial broadcasters (linear and on demand) collectively reach just over 4.6 million viewers every day, with each of those viewers watching for an average of 2hrs, 18 mins a day. The combined portfolio of BBC channels (linear and on demand) has a daily reach of 2.8 million and an average view time of 1hr 30 mins.  YouTube has a daily reach of 1.5 million people and a view time of 1hr 43 mins. </a:t>
            </a:r>
          </a:p>
          <a:p>
            <a:endParaRPr lang="en-GB" dirty="0"/>
          </a:p>
        </p:txBody>
      </p:sp>
      <p:sp>
        <p:nvSpPr>
          <p:cNvPr id="4" name="Slide Number Placeholder 3"/>
          <p:cNvSpPr>
            <a:spLocks noGrp="1"/>
          </p:cNvSpPr>
          <p:nvPr>
            <p:ph type="sldNum" sz="quarter" idx="5"/>
          </p:nvPr>
        </p:nvSpPr>
        <p:spPr/>
        <p:txBody>
          <a:bodyPr/>
          <a:lstStyle/>
          <a:p>
            <a:fld id="{DBC01CE4-3762-45B6-9736-1C63892740C8}" type="slidenum">
              <a:rPr lang="en-GB" smtClean="0"/>
              <a:t>3</a:t>
            </a:fld>
            <a:endParaRPr lang="en-GB"/>
          </a:p>
        </p:txBody>
      </p:sp>
    </p:spTree>
    <p:extLst>
      <p:ext uri="{BB962C8B-B14F-4D97-AF65-F5344CB8AC3E}">
        <p14:creationId xmlns:p14="http://schemas.microsoft.com/office/powerpoint/2010/main" val="10314700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2.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3.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4.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5.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6.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7.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8.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9.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0.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2.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3.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4.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5.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6.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7.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8.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9.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0.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2.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3.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4.xml"/></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5.xml"/></Relationships>
</file>

<file path=ppt/slideLayouts/_rels/slideLayout12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27.xml"/></Relationships>
</file>

<file path=ppt/slideLayouts/_rels/slideLayout12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29.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0.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1.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2.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3.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4.xml"/></Relationships>
</file>

<file path=ppt/slideLayouts/_rels/slideLayout13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5.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6.xml"/></Relationships>
</file>

<file path=ppt/slideLayouts/_rels/slideLayout13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7.xml"/></Relationships>
</file>

<file path=ppt/slideLayouts/_rels/slideLayout13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8.xml"/></Relationships>
</file>

<file path=ppt/slideLayouts/_rels/slideLayout13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9.xml"/></Relationships>
</file>

<file path=ppt/slideLayouts/_rels/slideLayout13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0.xml"/></Relationships>
</file>

<file path=ppt/slideLayouts/_rels/slideLayout13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1.xml"/></Relationships>
</file>

<file path=ppt/slideLayouts/_rels/slideLayout13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2.xml"/></Relationships>
</file>

<file path=ppt/slideLayouts/_rels/slideLayout13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3.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4.xml"/></Relationships>
</file>

<file path=ppt/slideLayouts/_rels/slideLayout14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5.xml"/></Relationships>
</file>

<file path=ppt/slideLayouts/_rels/slideLayout14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6.xml"/></Relationships>
</file>

<file path=ppt/slideLayouts/_rels/slideLayout14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7.xml"/></Relationships>
</file>

<file path=ppt/slideLayouts/_rels/slideLayout14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8.xml"/></Relationships>
</file>

<file path=ppt/slideLayouts/_rels/slideLayout14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9.xml"/></Relationships>
</file>

<file path=ppt/slideLayouts/_rels/slideLayout14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0.xml"/></Relationships>
</file>

<file path=ppt/slideLayouts/_rels/slideLayout14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1.xml"/></Relationships>
</file>

<file path=ppt/slideLayouts/_rels/slideLayout14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2.xml"/></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3.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5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4.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57.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58.xml"/></Relationships>
</file>

<file path=ppt/slideLayouts/_rels/slideLayout15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59.xml"/></Relationships>
</file>

<file path=ppt/slideLayouts/_rels/slideLayout15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0.xml"/></Relationships>
</file>

<file path=ppt/slideLayouts/_rels/slideLayout15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1.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2.xml"/></Relationships>
</file>

<file path=ppt/slideLayouts/_rels/slideLayout15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3.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4.xml"/></Relationships>
</file>

<file path=ppt/slideLayouts/_rels/slideLayout16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5.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6.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7.xml"/></Relationships>
</file>

<file path=ppt/slideLayouts/_rels/slideLayout16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8.xml"/></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9.xml"/></Relationships>
</file>

<file path=ppt/slideLayouts/_rels/slideLayout16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0.xml"/></Relationships>
</file>

<file path=ppt/slideLayouts/_rels/slideLayout16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1.xml"/></Relationships>
</file>

<file path=ppt/slideLayouts/_rels/slideLayout16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2.xml"/></Relationships>
</file>

<file path=ppt/slideLayouts/_rels/slideLayout16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3.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7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4.xml"/></Relationships>
</file>

<file path=ppt/slideLayouts/_rels/slideLayout17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5.xml"/></Relationships>
</file>

<file path=ppt/slideLayouts/_rels/slideLayout17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6.xml"/></Relationships>
</file>

<file path=ppt/slideLayouts/_rels/slideLayout17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7.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8.xml"/></Relationships>
</file>

<file path=ppt/slideLayouts/_rels/slideLayout17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9.xml"/></Relationships>
</file>

<file path=ppt/slideLayouts/_rels/slideLayout17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80.xml"/></Relationships>
</file>

<file path=ppt/slideLayouts/_rels/slideLayout17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81.xml"/></Relationships>
</file>

<file path=ppt/slideLayouts/_rels/slideLayout17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82.xml"/></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8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84.xml"/></Relationships>
</file>

<file path=ppt/slideLayouts/_rels/slideLayout18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85.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89.xml"/></Relationships>
</file>

<file path=ppt/slideLayouts/_rels/slideLayout19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90.xml"/></Relationships>
</file>

<file path=ppt/slideLayouts/_rels/slideLayout19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2.xml"/></Relationships>
</file>

<file path=ppt/slideLayouts/_rels/slideLayout19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3.xml"/></Relationships>
</file>

<file path=ppt/slideLayouts/_rels/slideLayout19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4.xml"/></Relationships>
</file>

<file path=ppt/slideLayouts/_rels/slideLayout19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5.xml"/></Relationships>
</file>

<file path=ppt/slideLayouts/_rels/slideLayout19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6.xml"/></Relationships>
</file>

<file path=ppt/slideLayouts/_rels/slideLayout19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7.xml"/></Relationships>
</file>

<file path=ppt/slideLayouts/_rels/slideLayout19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8.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0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9.xml"/></Relationships>
</file>

<file path=ppt/slideLayouts/_rels/slideLayout20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0.xml"/></Relationships>
</file>

<file path=ppt/slideLayouts/_rels/slideLayout20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1.xml"/></Relationships>
</file>

<file path=ppt/slideLayouts/_rels/slideLayout20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2.xml"/></Relationships>
</file>

<file path=ppt/slideLayouts/_rels/slideLayout20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3.xml"/></Relationships>
</file>

<file path=ppt/slideLayouts/_rels/slideLayout20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4.xml"/></Relationships>
</file>

<file path=ppt/slideLayouts/_rels/slideLayout20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5.xml"/></Relationships>
</file>

<file path=ppt/slideLayouts/_rels/slideLayout20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6.xml"/></Relationships>
</file>

<file path=ppt/slideLayouts/_rels/slideLayout20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7.xml"/></Relationships>
</file>

<file path=ppt/slideLayouts/_rels/slideLayout20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1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9.xml"/></Relationships>
</file>

<file path=ppt/slideLayouts/_rels/slideLayout21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0.xml"/></Relationships>
</file>

<file path=ppt/slideLayouts/_rels/slideLayout21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1.xml"/></Relationships>
</file>

<file path=ppt/slideLayouts/_rels/slideLayout21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2.xml"/></Relationships>
</file>

<file path=ppt/slideLayouts/_rels/slideLayout21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3.xml"/></Relationships>
</file>

<file path=ppt/slideLayouts/_rels/slideLayout21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4.xml"/></Relationships>
</file>

<file path=ppt/slideLayouts/_rels/slideLayout21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5.xml"/></Relationships>
</file>

<file path=ppt/slideLayouts/_rels/slideLayout21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6.xml"/></Relationships>
</file>

<file path=ppt/slideLayouts/_rels/slideLayout21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7.xml"/></Relationships>
</file>

<file path=ppt/slideLayouts/_rels/slideLayout21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8.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2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9.xml"/></Relationships>
</file>

<file path=ppt/slideLayouts/_rels/slideLayout22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20.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2.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3.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4.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6.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7.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8.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9.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0.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3.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4.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5.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6.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7.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8.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9.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0.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1.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2.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3.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4.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5.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6.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7.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8.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9.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0.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1.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2.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3.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4.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5.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6.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7.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8.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9.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0.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3.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5.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8.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9.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0.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9E5F90B-4EFD-4F87-8571-C292E52EB0A8}" type="slidenum">
              <a:rPr lang="en-GB" smtClean="0"/>
              <a:t>‹#›</a:t>
            </a:fld>
            <a:endParaRPr lang="en-GB" dirty="0"/>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229015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r>
              <a:rPr lang="en-US" dirty="0"/>
              <a:t>Click icon to add picture</a:t>
            </a:r>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r>
              <a:rPr lang="en-US" dirty="0"/>
              <a:t>Click icon to add picture</a:t>
            </a:r>
            <a:endParaRPr lang="en-GB" dirty="0"/>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r>
              <a:rPr lang="en-US" dirty="0"/>
              <a:t>Click icon to add picture</a:t>
            </a:r>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1416222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952290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128771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22" name="Straight Connector 21"/>
          <p:cNvCxnSpPr/>
          <p:nvPr userDrawn="1"/>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67789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22" name="Straight Connector 21"/>
          <p:cNvCxnSpPr/>
          <p:nvPr userDrawn="1"/>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endParaRPr lang="en-GB"/>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userDrawn="1"/>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custDataLst>
      <p:tags r:id="rId1"/>
    </p:custDataLst>
    <p:extLst>
      <p:ext uri="{BB962C8B-B14F-4D97-AF65-F5344CB8AC3E}">
        <p14:creationId xmlns:p14="http://schemas.microsoft.com/office/powerpoint/2010/main" val="3222980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endParaRPr lang="en-GB"/>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4029780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25164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5442018"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832104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2134529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105773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29/1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1673447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4368867"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r>
              <a:rPr lang="en-US" dirty="0"/>
              <a:t>Click icon to add picture</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1643272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29/1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3879903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29/1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4098749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52039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29/11/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endParaRPr lang="en-GB"/>
          </a:p>
        </p:txBody>
      </p:sp>
    </p:spTree>
    <p:custDataLst>
      <p:tags r:id="rId1"/>
    </p:custDataLst>
    <p:extLst>
      <p:ext uri="{BB962C8B-B14F-4D97-AF65-F5344CB8AC3E}">
        <p14:creationId xmlns:p14="http://schemas.microsoft.com/office/powerpoint/2010/main" val="150682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29/11/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1863553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6623F64F-6692-49A2-80FF-3D660AAAEE7A}" type="slidenum">
              <a:rPr lang="en-GB" smtClean="0"/>
              <a:pPr/>
              <a:t>‹#›</a:t>
            </a:fld>
            <a:endParaRPr lang="en-GB" dirty="0"/>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endParaRPr lang="en-GB"/>
          </a:p>
        </p:txBody>
      </p:sp>
    </p:spTree>
    <p:custDataLst>
      <p:tags r:id="rId1"/>
    </p:custDataLst>
    <p:extLst>
      <p:ext uri="{BB962C8B-B14F-4D97-AF65-F5344CB8AC3E}">
        <p14:creationId xmlns:p14="http://schemas.microsoft.com/office/powerpoint/2010/main" val="608434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1739341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3844031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1042941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401135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5442018"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r>
              <a:rPr lang="en-US" dirty="0"/>
              <a:t>Click icon to add picture</a:t>
            </a:r>
            <a:endParaRPr lang="en-GB" dirty="0"/>
          </a:p>
        </p:txBody>
      </p:sp>
      <p:cxnSp>
        <p:nvCxnSpPr>
          <p:cNvPr id="10" name="Straight Connector 9"/>
          <p:cNvCxnSpPr/>
          <p:nvPr/>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r>
              <a:rPr lang="en-US" dirty="0"/>
              <a:t>Click icon to add picture</a:t>
            </a:r>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782003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1511316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298858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29/11/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006073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29/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dirty="0"/>
              <a:t>Edit Master text styles</a:t>
            </a:r>
          </a:p>
        </p:txBody>
      </p:sp>
    </p:spTree>
    <p:custDataLst>
      <p:tags r:id="rId1"/>
    </p:custDataLst>
    <p:extLst>
      <p:ext uri="{BB962C8B-B14F-4D97-AF65-F5344CB8AC3E}">
        <p14:creationId xmlns:p14="http://schemas.microsoft.com/office/powerpoint/2010/main" val="4111755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29/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762469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29/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187385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29/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78584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800" b="0">
                <a:solidFill>
                  <a:schemeClr val="bg2"/>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341599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911351"/>
            <a:ext cx="1129603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75260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14061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911351"/>
            <a:ext cx="556260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75260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911351"/>
            <a:ext cx="556260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2" name="Straight Connector 11"/>
          <p:cNvCxnSpPr/>
          <p:nvPr userDrawn="1"/>
        </p:nvCxnSpPr>
        <p:spPr>
          <a:xfrm>
            <a:off x="6196283" y="175260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655627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4368867"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r>
              <a:rPr lang="en-US" dirty="0"/>
              <a:t>Click icon to add picture</a:t>
            </a:r>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r>
              <a:rPr lang="en-US" dirty="0"/>
              <a:t>Click icon to add picture</a:t>
            </a:r>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r>
              <a:rPr lang="en-US" dirty="0"/>
              <a:t>Click icon to add picture</a:t>
            </a:r>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2370298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911237"/>
            <a:ext cx="4368867" cy="33545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544385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911237"/>
            <a:ext cx="4368867" cy="33545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78419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 image &amp; tex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8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7"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4294504"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7" name="Picture Placeholder 16"/>
          <p:cNvSpPr>
            <a:spLocks noGrp="1"/>
          </p:cNvSpPr>
          <p:nvPr>
            <p:ph type="pic" sz="quarter" idx="19"/>
          </p:nvPr>
        </p:nvSpPr>
        <p:spPr>
          <a:xfrm>
            <a:off x="479425" y="1752600"/>
            <a:ext cx="3611563" cy="1782934"/>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4285684" y="1752600"/>
            <a:ext cx="3611563" cy="1782934"/>
          </a:xfrm>
          <a:solidFill>
            <a:schemeClr val="bg1">
              <a:lumMod val="85000"/>
            </a:schemeClr>
          </a:solidFill>
        </p:spPr>
        <p:txBody>
          <a:bodyPr/>
          <a:lstStyle/>
          <a:p>
            <a:endParaRPr lang="en-GB"/>
          </a:p>
        </p:txBody>
      </p:sp>
      <p:sp>
        <p:nvSpPr>
          <p:cNvPr id="21" name="Picture Placeholder 16"/>
          <p:cNvSpPr>
            <a:spLocks noGrp="1"/>
          </p:cNvSpPr>
          <p:nvPr>
            <p:ph type="pic" sz="quarter" idx="21"/>
          </p:nvPr>
        </p:nvSpPr>
        <p:spPr>
          <a:xfrm>
            <a:off x="8101012" y="1752600"/>
            <a:ext cx="3611563" cy="1782934"/>
          </a:xfrm>
          <a:solidFill>
            <a:schemeClr val="bg1">
              <a:lumMod val="85000"/>
            </a:schemeClr>
          </a:solidFill>
        </p:spPr>
        <p:txBody>
          <a:bodyPr/>
          <a:lstStyle/>
          <a:p>
            <a:endParaRPr lang="en-GB" dirty="0"/>
          </a:p>
        </p:txBody>
      </p:sp>
      <p:cxnSp>
        <p:nvCxnSpPr>
          <p:cNvPr id="22" name="Straight Connector 21"/>
          <p:cNvCxnSpPr/>
          <p:nvPr userDrawn="1"/>
        </p:nvCxnSpPr>
        <p:spPr>
          <a:xfrm>
            <a:off x="8101012"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707174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800" b="0">
                <a:solidFill>
                  <a:schemeClr val="bg2"/>
                </a:solidFill>
              </a:defRPr>
            </a:lvl1pPr>
          </a:lstStyle>
          <a:p>
            <a:pPr lvl="0"/>
            <a:r>
              <a:rPr lang="en-US" dirty="0"/>
              <a:t>Edit Master text styles</a:t>
            </a:r>
          </a:p>
        </p:txBody>
      </p:sp>
      <p:sp>
        <p:nvSpPr>
          <p:cNvPr id="17" name="Picture Placeholder 16"/>
          <p:cNvSpPr>
            <a:spLocks noGrp="1"/>
          </p:cNvSpPr>
          <p:nvPr>
            <p:ph type="pic" sz="quarter" idx="19"/>
          </p:nvPr>
        </p:nvSpPr>
        <p:spPr>
          <a:xfrm>
            <a:off x="479425" y="1752600"/>
            <a:ext cx="2680405" cy="3513138"/>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3330340" y="1752600"/>
            <a:ext cx="2680405" cy="3513138"/>
          </a:xfrm>
          <a:solidFill>
            <a:schemeClr val="bg1">
              <a:lumMod val="85000"/>
            </a:schemeClr>
          </a:solidFill>
        </p:spPr>
        <p:txBody>
          <a:bodyPr/>
          <a:lstStyle/>
          <a:p>
            <a:endParaRPr lang="en-GB"/>
          </a:p>
        </p:txBody>
      </p:sp>
      <p:sp>
        <p:nvSpPr>
          <p:cNvPr id="21" name="Picture Placeholder 16"/>
          <p:cNvSpPr>
            <a:spLocks noGrp="1"/>
          </p:cNvSpPr>
          <p:nvPr>
            <p:ph type="pic" sz="quarter" idx="21"/>
          </p:nvPr>
        </p:nvSpPr>
        <p:spPr>
          <a:xfrm>
            <a:off x="6181255" y="1752600"/>
            <a:ext cx="2680405" cy="3513138"/>
          </a:xfrm>
          <a:solidFill>
            <a:schemeClr val="bg1">
              <a:lumMod val="85000"/>
            </a:schemeClr>
          </a:solidFill>
        </p:spPr>
        <p:txBody>
          <a:bodyPr/>
          <a:lstStyle/>
          <a:p>
            <a:endParaRPr lang="en-GB" dirty="0"/>
          </a:p>
        </p:txBody>
      </p:sp>
      <p:sp>
        <p:nvSpPr>
          <p:cNvPr id="18" name="Picture Placeholder 16"/>
          <p:cNvSpPr>
            <a:spLocks noGrp="1"/>
          </p:cNvSpPr>
          <p:nvPr>
            <p:ph type="pic" sz="quarter" idx="22"/>
          </p:nvPr>
        </p:nvSpPr>
        <p:spPr>
          <a:xfrm>
            <a:off x="9032169" y="1752600"/>
            <a:ext cx="2680405" cy="3513138"/>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29942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752600"/>
            <a:ext cx="6342907" cy="3513138"/>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884170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911237"/>
            <a:ext cx="5442018"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64811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4"/>
          </p:nvPr>
        </p:nvSpPr>
        <p:spPr>
          <a:xfrm>
            <a:off x="5226050" y="1752600"/>
            <a:ext cx="3159193" cy="1672994"/>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553381" y="1752600"/>
            <a:ext cx="3159193" cy="1672994"/>
          </a:xfrm>
          <a:prstGeom prst="rect">
            <a:avLst/>
          </a:prstGeom>
          <a:solidFill>
            <a:schemeClr val="bg1">
              <a:lumMod val="85000"/>
            </a:schemeClr>
          </a:solidFill>
        </p:spPr>
        <p:txBody>
          <a:bodyPr/>
          <a:lstStyle/>
          <a:p>
            <a:endParaRPr lang="en-GB" dirty="0"/>
          </a:p>
        </p:txBody>
      </p:sp>
      <p:sp>
        <p:nvSpPr>
          <p:cNvPr id="13" name="Picture Placeholder 8"/>
          <p:cNvSpPr>
            <a:spLocks noGrp="1"/>
          </p:cNvSpPr>
          <p:nvPr>
            <p:ph type="pic" sz="quarter" idx="16"/>
          </p:nvPr>
        </p:nvSpPr>
        <p:spPr>
          <a:xfrm>
            <a:off x="8553381" y="3592744"/>
            <a:ext cx="3159193" cy="1672994"/>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5226050" y="3592744"/>
            <a:ext cx="3159193" cy="1672994"/>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47723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752600"/>
            <a:ext cx="3645289" cy="1672994"/>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067285" y="1752600"/>
            <a:ext cx="3645289" cy="1672994"/>
          </a:xfrm>
          <a:prstGeom prst="rect">
            <a:avLst/>
          </a:prstGeom>
          <a:solidFill>
            <a:schemeClr val="bg1">
              <a:lumMod val="85000"/>
            </a:schemeClr>
          </a:solidFill>
        </p:spPr>
        <p:txBody>
          <a:bodyPr/>
          <a:lstStyle/>
          <a:p>
            <a:endParaRPr lang="en-GB" dirty="0"/>
          </a:p>
        </p:txBody>
      </p:sp>
      <p:sp>
        <p:nvSpPr>
          <p:cNvPr id="17" name="Picture Placeholder 8"/>
          <p:cNvSpPr>
            <a:spLocks noGrp="1"/>
          </p:cNvSpPr>
          <p:nvPr>
            <p:ph type="pic" sz="quarter" idx="19"/>
          </p:nvPr>
        </p:nvSpPr>
        <p:spPr>
          <a:xfrm>
            <a:off x="479425" y="1752600"/>
            <a:ext cx="3645289" cy="1672994"/>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13" name="Picture Placeholder 8"/>
          <p:cNvSpPr>
            <a:spLocks noGrp="1"/>
          </p:cNvSpPr>
          <p:nvPr>
            <p:ph type="pic" sz="quarter" idx="16"/>
          </p:nvPr>
        </p:nvSpPr>
        <p:spPr>
          <a:xfrm>
            <a:off x="8067285" y="3592744"/>
            <a:ext cx="3645289" cy="1672994"/>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4273355" y="3592744"/>
            <a:ext cx="3645289" cy="1672994"/>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p:cNvSpPr>
            <a:spLocks noGrp="1"/>
          </p:cNvSpPr>
          <p:nvPr>
            <p:ph type="pic" sz="quarter" idx="20"/>
          </p:nvPr>
        </p:nvSpPr>
        <p:spPr>
          <a:xfrm>
            <a:off x="479425" y="3592744"/>
            <a:ext cx="3645289" cy="1672994"/>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37151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50653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29/1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2360502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29/1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2288584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1193344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814300"/>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29/1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3883081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888731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29/11/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endParaRPr lang="en-GB"/>
          </a:p>
        </p:txBody>
      </p:sp>
    </p:spTree>
    <p:custDataLst>
      <p:tags r:id="rId1"/>
    </p:custDataLst>
    <p:extLst>
      <p:ext uri="{BB962C8B-B14F-4D97-AF65-F5344CB8AC3E}">
        <p14:creationId xmlns:p14="http://schemas.microsoft.com/office/powerpoint/2010/main" val="809483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4x Video">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29/11/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1056022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2800847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1895127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2556554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1735712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598427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14026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79E5F90B-4EFD-4F87-8571-C292E52EB0A8}" type="slidenum">
              <a:rPr lang="en-GB" smtClean="0"/>
              <a:t>‹#›</a:t>
            </a:fld>
            <a:endParaRPr lang="en-GB" dirty="0"/>
          </a:p>
        </p:txBody>
      </p:sp>
    </p:spTree>
    <p:custDataLst>
      <p:tags r:id="rId1"/>
    </p:custDataLst>
    <p:extLst>
      <p:ext uri="{BB962C8B-B14F-4D97-AF65-F5344CB8AC3E}">
        <p14:creationId xmlns:p14="http://schemas.microsoft.com/office/powerpoint/2010/main" val="743307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29/11/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0190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29/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dirty="0"/>
              <a:t>Edit Master text styles</a:t>
            </a:r>
          </a:p>
        </p:txBody>
      </p:sp>
    </p:spTree>
    <p:custDataLst>
      <p:tags r:id="rId1"/>
    </p:custDataLst>
    <p:extLst>
      <p:ext uri="{BB962C8B-B14F-4D97-AF65-F5344CB8AC3E}">
        <p14:creationId xmlns:p14="http://schemas.microsoft.com/office/powerpoint/2010/main" val="7076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cSld name="2_Video">
    <p:spTree>
      <p:nvGrpSpPr>
        <p:cNvPr id="1" name=""/>
        <p:cNvGrpSpPr/>
        <p:nvPr/>
      </p:nvGrpSpPr>
      <p:grpSpPr>
        <a:xfrm>
          <a:off x="0" y="0"/>
          <a:ext cx="0" cy="0"/>
          <a:chOff x="0" y="0"/>
          <a:chExt cx="0" cy="0"/>
        </a:xfrm>
      </p:grpSpPr>
      <p:sp>
        <p:nvSpPr>
          <p:cNvPr id="6" name="Rectangle 5"/>
          <p:cNvSpPr/>
          <p:nvPr userDrawn="1"/>
        </p:nvSpPr>
        <p:spPr>
          <a:xfrm>
            <a:off x="-712" y="0"/>
            <a:ext cx="12203112" cy="6858000"/>
          </a:xfrm>
          <a:prstGeom prst="rect">
            <a:avLst/>
          </a:prstGeom>
          <a:gradFill flip="none" rotWithShape="1">
            <a:gsLst>
              <a:gs pos="0">
                <a:schemeClr val="accent5"/>
              </a:gs>
              <a:gs pos="100000">
                <a:schemeClr val="accent3"/>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35361" y="168994"/>
            <a:ext cx="1328519" cy="480053"/>
          </a:xfrm>
          <a:prstGeom prst="rect">
            <a:avLst/>
          </a:prstGeom>
        </p:spPr>
      </p:pic>
      <p:sp>
        <p:nvSpPr>
          <p:cNvPr id="2" name="Title 1"/>
          <p:cNvSpPr>
            <a:spLocks noGrp="1"/>
          </p:cNvSpPr>
          <p:nvPr>
            <p:ph type="title"/>
          </p:nvPr>
        </p:nvSpPr>
        <p:spPr>
          <a:xfrm>
            <a:off x="609600" y="29164"/>
            <a:ext cx="10094912" cy="957509"/>
          </a:xfrm>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59585B9F-EF5C-4314-BCBC-A6F82ED753B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FA73F885-FE6B-4251-84D2-F6CEF084999B}" type="slidenum">
              <a:rPr lang="en-GB" smtClean="0"/>
              <a:pPr/>
              <a:t>‹#›</a:t>
            </a:fld>
            <a:endParaRPr lang="en-GB" dirty="0"/>
          </a:p>
        </p:txBody>
      </p:sp>
    </p:spTree>
    <p:extLst>
      <p:ext uri="{BB962C8B-B14F-4D97-AF65-F5344CB8AC3E}">
        <p14:creationId xmlns:p14="http://schemas.microsoft.com/office/powerpoint/2010/main" val="483924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29/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14724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29/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1407100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919497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11296030" cy="36515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cxnSp>
        <p:nvCxnSpPr>
          <p:cNvPr id="8" name="Straight Connector 7"/>
          <p:cNvCxnSpPr/>
          <p:nvPr userDrawn="1"/>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814860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5562600" cy="36515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cxnSp>
        <p:nvCxnSpPr>
          <p:cNvPr id="8" name="Straight Connector 7"/>
          <p:cNvCxnSpPr/>
          <p:nvPr userDrawn="1"/>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2" name="Straight Connector 11"/>
          <p:cNvCxnSpPr/>
          <p:nvPr userDrawn="1"/>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961922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723675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238477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79E5F90B-4EFD-4F87-8571-C292E52EB0A8}" type="slidenum">
              <a:rPr lang="en-GB" smtClean="0"/>
              <a:t>‹#›</a:t>
            </a:fld>
            <a:endParaRPr lang="en-GB" dirty="0"/>
          </a:p>
        </p:txBody>
      </p:sp>
    </p:spTree>
    <p:custDataLst>
      <p:tags r:id="rId1"/>
    </p:custDataLst>
    <p:extLst>
      <p:ext uri="{BB962C8B-B14F-4D97-AF65-F5344CB8AC3E}">
        <p14:creationId xmlns:p14="http://schemas.microsoft.com/office/powerpoint/2010/main" val="3822571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Click to 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p:cNvCxnSpPr/>
          <p:nvPr userDrawn="1"/>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p:cNvCxnSpPr/>
          <p:nvPr userDrawn="1"/>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p:cNvCxnSpPr/>
          <p:nvPr userDrawn="1"/>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r>
              <a:rPr lang="en-US"/>
              <a:t>Click icon to add picture</a:t>
            </a:r>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r>
              <a:rPr lang="en-US"/>
              <a:t>Click icon to add picture</a:t>
            </a:r>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2401942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Click to 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p:cNvCxnSpPr/>
          <p:nvPr userDrawn="1"/>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p:cNvCxnSpPr/>
          <p:nvPr userDrawn="1"/>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p:cNvCxnSpPr/>
          <p:nvPr userDrawn="1"/>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r>
              <a:rPr lang="en-US"/>
              <a:t>Click icon to add picture</a:t>
            </a:r>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r>
              <a:rPr lang="en-US"/>
              <a:t>Click icon to add picture</a:t>
            </a:r>
            <a:endParaRPr lang="en-GB"/>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r>
              <a:rPr lang="en-US"/>
              <a:t>Click icon to add picture</a:t>
            </a:r>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r>
              <a:rPr lang="en-US"/>
              <a:t>Click icon to add picture</a:t>
            </a:r>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userDrawn="1"/>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custDataLst>
      <p:tags r:id="rId1"/>
    </p:custDataLst>
    <p:extLst>
      <p:ext uri="{BB962C8B-B14F-4D97-AF65-F5344CB8AC3E}">
        <p14:creationId xmlns:p14="http://schemas.microsoft.com/office/powerpoint/2010/main" val="3750441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Click to 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r>
              <a:rPr lang="en-US"/>
              <a:t>Click icon to add picture</a:t>
            </a:r>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r>
              <a:rPr lang="en-US"/>
              <a:t>Click icon to add picture</a:t>
            </a:r>
            <a:endParaRPr lang="en-GB"/>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r>
              <a:rPr lang="en-US"/>
              <a:t>Click icon to add picture</a:t>
            </a:r>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2514733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3081912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5442018" cy="37117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userDrawn="1"/>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r>
              <a:rPr lang="en-US"/>
              <a:t>Click icon to add picture</a:t>
            </a:r>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859320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2098650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39799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29/1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817377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29/1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3765949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29/1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3564046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79E5F90B-4EFD-4F87-8571-C292E52EB0A8}" type="slidenum">
              <a:rPr lang="en-GB" smtClean="0"/>
              <a:t>‹#›</a:t>
            </a:fld>
            <a:endParaRPr lang="en-GB" dirty="0"/>
          </a:p>
        </p:txBody>
      </p:sp>
    </p:spTree>
    <p:custDataLst>
      <p:tags r:id="rId1"/>
    </p:custDataLst>
    <p:extLst>
      <p:ext uri="{BB962C8B-B14F-4D97-AF65-F5344CB8AC3E}">
        <p14:creationId xmlns:p14="http://schemas.microsoft.com/office/powerpoint/2010/main" val="3884676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78574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29/11/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r>
              <a:rPr lang="en-US"/>
              <a:t>Click icon to add picture</a:t>
            </a:r>
            <a:endParaRPr lang="en-GB"/>
          </a:p>
        </p:txBody>
      </p:sp>
    </p:spTree>
    <p:custDataLst>
      <p:tags r:id="rId1"/>
    </p:custDataLst>
    <p:extLst>
      <p:ext uri="{BB962C8B-B14F-4D97-AF65-F5344CB8AC3E}">
        <p14:creationId xmlns:p14="http://schemas.microsoft.com/office/powerpoint/2010/main" val="143337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r>
              <a:rPr lang="en-US"/>
              <a:t>Click icon to add picture</a:t>
            </a:r>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r>
              <a:rPr lang="en-US"/>
              <a:t>Click icon to add picture</a:t>
            </a:r>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r>
              <a:rPr lang="en-US"/>
              <a:t>Click icon to add picture</a:t>
            </a:r>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r>
              <a:rPr lang="en-US"/>
              <a:t>Click icon to add picture</a:t>
            </a:r>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29/11/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5857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6623F64F-6692-49A2-80FF-3D660AAAEE7A}" type="slidenum">
              <a:rPr lang="en-GB" smtClean="0"/>
              <a:pPr/>
              <a:t>‹#›</a:t>
            </a:fld>
            <a:endParaRPr lang="en-GB" dirty="0"/>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r>
              <a:rPr lang="en-US"/>
              <a:t>Click icon to add media</a:t>
            </a:r>
            <a:endParaRPr lang="en-GB"/>
          </a:p>
        </p:txBody>
      </p:sp>
    </p:spTree>
    <p:custDataLst>
      <p:tags r:id="rId1"/>
    </p:custDataLst>
    <p:extLst>
      <p:ext uri="{BB962C8B-B14F-4D97-AF65-F5344CB8AC3E}">
        <p14:creationId xmlns:p14="http://schemas.microsoft.com/office/powerpoint/2010/main" val="1724816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a:t>Click to 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r>
              <a:rPr lang="en-US"/>
              <a:t>Click icon to add picture</a:t>
            </a:r>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359054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a:t>Click to 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r>
              <a:rPr lang="en-US"/>
              <a:t>Click icon to add picture</a:t>
            </a:r>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r>
              <a:rPr lang="en-US"/>
              <a:t>Click icon to add picture</a:t>
            </a:r>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3984609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a:t>Click to edit Master text styles</a:t>
            </a:r>
          </a:p>
        </p:txBody>
      </p:sp>
    </p:spTree>
    <p:custDataLst>
      <p:tags r:id="rId1"/>
    </p:custDataLst>
    <p:extLst>
      <p:ext uri="{BB962C8B-B14F-4D97-AF65-F5344CB8AC3E}">
        <p14:creationId xmlns:p14="http://schemas.microsoft.com/office/powerpoint/2010/main" val="993274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a:t>Click to edit Master text styles</a:t>
            </a:r>
          </a:p>
        </p:txBody>
      </p:sp>
    </p:spTree>
    <p:custDataLst>
      <p:tags r:id="rId1"/>
    </p:custDataLst>
    <p:extLst>
      <p:ext uri="{BB962C8B-B14F-4D97-AF65-F5344CB8AC3E}">
        <p14:creationId xmlns:p14="http://schemas.microsoft.com/office/powerpoint/2010/main" val="2601083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a:t>Click to edit Master text styles</a:t>
            </a:r>
          </a:p>
        </p:txBody>
      </p:sp>
    </p:spTree>
    <p:custDataLst>
      <p:tags r:id="rId1"/>
    </p:custDataLst>
    <p:extLst>
      <p:ext uri="{BB962C8B-B14F-4D97-AF65-F5344CB8AC3E}">
        <p14:creationId xmlns:p14="http://schemas.microsoft.com/office/powerpoint/2010/main" val="1361548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3612479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11" name="Straight Connector 10"/>
          <p:cNvCxnSpPr/>
          <p:nvPr/>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18484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29/11/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174974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29/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a:t>Click to edit Master text styles</a:t>
            </a:r>
          </a:p>
        </p:txBody>
      </p:sp>
    </p:spTree>
    <p:custDataLst>
      <p:tags r:id="rId1"/>
    </p:custDataLst>
    <p:extLst>
      <p:ext uri="{BB962C8B-B14F-4D97-AF65-F5344CB8AC3E}">
        <p14:creationId xmlns:p14="http://schemas.microsoft.com/office/powerpoint/2010/main" val="336780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ctr"/>
          <a:lstStyle>
            <a:lvl1pPr algn="ctr">
              <a:defRPr/>
            </a:lvl1pPr>
          </a:lstStyle>
          <a:p>
            <a:r>
              <a:rPr lang="en-GB" dirty="0"/>
              <a:t>Insert image by clicking icon.   </a:t>
            </a:r>
            <a:br>
              <a:rPr lang="en-GB" dirty="0"/>
            </a:br>
            <a:r>
              <a:rPr lang="en-GB" dirty="0"/>
              <a:t>Send this image to the back to make sure all elements are visible.</a:t>
            </a:r>
            <a:br>
              <a:rPr lang="en-GB" dirty="0"/>
            </a:br>
            <a:br>
              <a:rPr lang="en-GB" dirty="0"/>
            </a:br>
            <a:br>
              <a:rPr lang="en-GB" dirty="0"/>
            </a:br>
            <a:br>
              <a:rPr lang="en-GB" dirty="0"/>
            </a:br>
            <a:endParaRPr lang="en-GB" dirty="0"/>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bwMode="white">
          <a:xfrm>
            <a:off x="450000" y="5420032"/>
            <a:ext cx="65" cy="215444"/>
          </a:xfrm>
          <a:prstGeom prst="rect">
            <a:avLst/>
          </a:prstGeom>
        </p:spPr>
        <p:txBody>
          <a:bodyPr wrap="none" lIns="0" tIns="0" rIns="0" bIns="0">
            <a:spAutoFit/>
          </a:bodyPr>
          <a:lstStyle>
            <a:lvl1pPr>
              <a:defRPr sz="1400">
                <a:solidFill>
                  <a:schemeClr val="bg1"/>
                </a:solidFill>
              </a:defRPr>
            </a:lvl1pPr>
          </a:lstStyle>
          <a:p>
            <a:endParaRPr lang="en-GB" dirty="0"/>
          </a:p>
        </p:txBody>
      </p:sp>
      <p:sp>
        <p:nvSpPr>
          <p:cNvPr id="24" name="Header">
            <a:extLst>
              <a:ext uri="{FF2B5EF4-FFF2-40B4-BE49-F238E27FC236}">
                <a16:creationId xmlns:a16="http://schemas.microsoft.com/office/drawing/2014/main" id="{282677E1-E7D7-461C-9F6D-B1708372F571}"/>
              </a:ext>
            </a:extLst>
          </p:cNvPr>
          <p:cNvSpPr>
            <a:spLocks noGrp="1"/>
          </p:cNvSpPr>
          <p:nvPr>
            <p:ph type="ctrTitle" hasCustomPrompt="1"/>
          </p:nvPr>
        </p:nvSpPr>
        <p:spPr bwMode="white">
          <a:xfrm>
            <a:off x="450000" y="450000"/>
            <a:ext cx="9616732" cy="830997"/>
          </a:xfrm>
        </p:spPr>
        <p:txBody>
          <a:bodyPr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dirty="0"/>
              <a:t>Report/proposal titl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bwMode="white">
          <a:xfrm>
            <a:off x="450000" y="4779622"/>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Extra information here</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bwMode="white">
          <a:xfrm>
            <a:off x="450000" y="3789980"/>
            <a:ext cx="7551997" cy="738664"/>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hange colour of titling depending on contrast of image used</a:t>
            </a: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453142"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TV Ad Nation 2022 | August 2022 | Public | Internal/Client Use Only | Strictly Confidential</a:t>
            </a:r>
          </a:p>
        </p:txBody>
      </p:sp>
      <p:pic>
        <p:nvPicPr>
          <p:cNvPr id="11" name="Picture 10" descr="Logo&#10;&#10;Description automatically generated">
            <a:extLst>
              <a:ext uri="{FF2B5EF4-FFF2-40B4-BE49-F238E27FC236}">
                <a16:creationId xmlns:a16="http://schemas.microsoft.com/office/drawing/2014/main" id="{8AAAFBE4-210F-4803-9497-51B35F0995D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74270276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1_Empty">
    <p:bg>
      <p:bgPr>
        <a:solidFill>
          <a:schemeClr val="bg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6" name="White background">
            <a:extLst>
              <a:ext uri="{FF2B5EF4-FFF2-40B4-BE49-F238E27FC236}">
                <a16:creationId xmlns:a16="http://schemas.microsoft.com/office/drawing/2014/main" id="{106595BE-8670-4A5F-B6E3-C00B54377605}"/>
              </a:ext>
              <a:ext uri="{C183D7F6-B498-43B3-948B-1728B52AA6E4}">
                <adec:decorative xmlns:adec="http://schemas.microsoft.com/office/drawing/2017/decorative" val="1"/>
              </a:ext>
            </a:extLst>
          </p:cNvPr>
          <p:cNvSpPr/>
          <p:nvPr userDrawn="1"/>
        </p:nvSpPr>
        <p:spPr>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Ipsos logo">
            <a:extLst>
              <a:ext uri="{FF2B5EF4-FFF2-40B4-BE49-F238E27FC236}">
                <a16:creationId xmlns:a16="http://schemas.microsoft.com/office/drawing/2014/main" id="{B85F766D-BBA4-4DFC-AB5B-7DD1C15CBEB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631717261"/>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Divider style 2">
    <p:bg>
      <p:bgPr>
        <a:solidFill>
          <a:schemeClr val="bg2"/>
        </a:solidFill>
        <a:effectLst/>
      </p:bgPr>
    </p:bg>
    <p:spTree>
      <p:nvGrpSpPr>
        <p:cNvPr id="1" name=""/>
        <p:cNvGrpSpPr/>
        <p:nvPr/>
      </p:nvGrpSpPr>
      <p:grpSpPr>
        <a:xfrm>
          <a:off x="0" y="0"/>
          <a:ext cx="0" cy="0"/>
          <a:chOff x="0" y="0"/>
          <a:chExt cx="0" cy="0"/>
        </a:xfrm>
      </p:grpSpPr>
      <p:sp>
        <p:nvSpPr>
          <p:cNvPr id="14" name="Classification">
            <a:extLst>
              <a:ext uri="{FF2B5EF4-FFF2-40B4-BE49-F238E27FC236}">
                <a16:creationId xmlns:a16="http://schemas.microsoft.com/office/drawing/2014/main" id="{F52C80E3-8B55-457E-A85C-8CC02F81EC76}"/>
              </a:ext>
              <a:ext uri="{C183D7F6-B498-43B3-948B-1728B52AA6E4}">
                <adec:decorative xmlns:adec="http://schemas.microsoft.com/office/drawing/2017/decorative" val="1"/>
              </a:ext>
            </a:extLst>
          </p:cNvPr>
          <p:cNvSpPr txBox="1">
            <a:spLocks/>
          </p:cNvSpPr>
          <p:nvPr userDrawn="1"/>
        </p:nvSpPr>
        <p:spPr>
          <a:xfrm>
            <a:off x="817200" y="6515735"/>
            <a:ext cx="44819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TV Ad Nation 2022 | August 2022 | Public | Internal/Client Use Only | Strictly Confidential</a:t>
            </a:r>
          </a:p>
        </p:txBody>
      </p:sp>
      <p:pic>
        <p:nvPicPr>
          <p:cNvPr id="11" name="Ipsos Logo">
            <a:extLst>
              <a:ext uri="{FF2B5EF4-FFF2-40B4-BE49-F238E27FC236}">
                <a16:creationId xmlns:a16="http://schemas.microsoft.com/office/drawing/2014/main" id="{0A368669-E846-4FCF-BAE4-4254F42AB74B}"/>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sp>
        <p:nvSpPr>
          <p:cNvPr id="22" name="Section number">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dirty="0"/>
              <a:t>01.</a:t>
            </a:r>
          </a:p>
        </p:txBody>
      </p:sp>
      <p:sp>
        <p:nvSpPr>
          <p:cNvPr id="23" name="Section title">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cap="none" spc="0" dirty="0">
                <a:solidFill>
                  <a:schemeClr val="bg1"/>
                </a:solidFill>
                <a:latin typeface="Arial Black" panose="020B0A04020102020204" pitchFamily="34" charset="0"/>
              </a:defRPr>
            </a:lvl1pPr>
          </a:lstStyle>
          <a:p>
            <a:pPr lvl="0"/>
            <a:r>
              <a:rPr lang="en-GB" dirty="0"/>
              <a:t>Section title</a:t>
            </a:r>
          </a:p>
        </p:txBody>
      </p:sp>
      <p:sp>
        <p:nvSpPr>
          <p:cNvPr id="13" name="Section subtitle">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3297749"/>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ptional)</a:t>
            </a:r>
          </a:p>
        </p:txBody>
      </p:sp>
    </p:spTree>
    <p:extLst>
      <p:ext uri="{BB962C8B-B14F-4D97-AF65-F5344CB8AC3E}">
        <p14:creationId xmlns:p14="http://schemas.microsoft.com/office/powerpoint/2010/main" val="2760629890"/>
      </p:ext>
    </p:extLst>
  </p:cSld>
  <p:clrMapOvr>
    <a:masterClrMapping/>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0BB3773D-6CED-4B8A-A46D-AF2BA032FCD8}"/>
              </a:ext>
            </a:extLst>
          </p:cNvPr>
          <p:cNvSpPr>
            <a:spLocks noGrp="1"/>
          </p:cNvSpPr>
          <p:nvPr>
            <p:ph type="sldNum" sz="quarter" idx="19"/>
          </p:nvPr>
        </p:nvSpPr>
        <p:spPr/>
        <p:txBody>
          <a:bodyPr/>
          <a:lstStyle/>
          <a:p>
            <a:fld id="{D61AABEC-672F-4B68-B914-690DA978312C}" type="slidenum">
              <a:rPr lang="en-GB" smtClean="0"/>
              <a:pPr/>
              <a:t>‹#›</a:t>
            </a:fld>
            <a:r>
              <a:rPr lang="en-GB" dirty="0"/>
              <a:t>  </a:t>
            </a:r>
          </a:p>
        </p:txBody>
      </p:sp>
      <p:sp>
        <p:nvSpPr>
          <p:cNvPr id="5" name="Title" descr="Header">
            <a:extLst>
              <a:ext uri="{FF2B5EF4-FFF2-40B4-BE49-F238E27FC236}">
                <a16:creationId xmlns:a16="http://schemas.microsoft.com/office/drawing/2014/main" id="{93A2C7FC-586B-457F-BC57-4BB7FE1F784D}"/>
              </a:ext>
            </a:extLst>
          </p:cNvPr>
          <p:cNvSpPr>
            <a:spLocks noGrp="1"/>
          </p:cNvSpPr>
          <p:nvPr>
            <p:ph type="title"/>
          </p:nvPr>
        </p:nvSpPr>
        <p:spPr/>
        <p:txBody>
          <a:bodyPr/>
          <a:lstStyle/>
          <a:p>
            <a:r>
              <a:rPr lang="en-US"/>
              <a:t>Click to edit Master title style</a:t>
            </a:r>
            <a:endParaRPr lang="en-GB" dirty="0"/>
          </a:p>
        </p:txBody>
      </p:sp>
      <p:sp>
        <p:nvSpPr>
          <p:cNvPr id="6" name="Subtitle">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50000" y="1241781"/>
            <a:ext cx="9341700" cy="307777"/>
          </a:xfrm>
          <a:noFill/>
        </p:spPr>
        <p:txBody>
          <a:bodyPr vert="horz" wrap="square" lIns="0" tIns="0" rIns="0" bIns="0" rtlCol="0">
            <a:spAutoFit/>
          </a:bodyPr>
          <a:lstStyle>
            <a:lvl1pPr>
              <a:lnSpc>
                <a:spcPct val="100000"/>
              </a:lnSpc>
              <a:defRPr lang="en-GB" sz="2000" b="1" dirty="0">
                <a:solidFill>
                  <a:schemeClr val="tx2"/>
                </a:solidFill>
              </a:defRPr>
            </a:lvl1pPr>
          </a:lstStyle>
          <a:p>
            <a:r>
              <a:rPr lang="en-GB" dirty="0"/>
              <a:t>Subtitle here</a:t>
            </a: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a:solidFill>
            <a:srgbClr val="E8E8E8"/>
          </a:solid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Insert diagram here</a:t>
            </a:r>
          </a:p>
        </p:txBody>
      </p:sp>
      <p:sp>
        <p:nvSpPr>
          <p:cNvPr id="9" name="Base">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Tree>
    <p:extLst>
      <p:ext uri="{BB962C8B-B14F-4D97-AF65-F5344CB8AC3E}">
        <p14:creationId xmlns:p14="http://schemas.microsoft.com/office/powerpoint/2010/main" val="1199442191"/>
      </p:ext>
    </p:extLst>
  </p:cSld>
  <p:clrMapOvr>
    <a:masterClrMapping/>
  </p:clrMapOvr>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Clear">
    <p:spTree>
      <p:nvGrpSpPr>
        <p:cNvPr id="1" name=""/>
        <p:cNvGrpSpPr/>
        <p:nvPr/>
      </p:nvGrpSpPr>
      <p:grpSpPr>
        <a:xfrm>
          <a:off x="0" y="0"/>
          <a:ext cx="0" cy="0"/>
          <a:chOff x="0" y="0"/>
          <a:chExt cx="0" cy="0"/>
        </a:xfrm>
      </p:grpSpPr>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
        <p:nvSpPr>
          <p:cNvPr id="6" name="Title 5" descr="Header">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2" name="Base">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Tree>
    <p:extLst>
      <p:ext uri="{BB962C8B-B14F-4D97-AF65-F5344CB8AC3E}">
        <p14:creationId xmlns:p14="http://schemas.microsoft.com/office/powerpoint/2010/main" val="2220147835"/>
      </p:ext>
    </p:extLst>
  </p:cSld>
  <p:clrMapOvr>
    <a:masterClrMapping/>
  </p:clrMapOvr>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large_diagram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
        <p:nvSpPr>
          <p:cNvPr id="2" name="Title 1" descr="Header">
            <a:extLst>
              <a:ext uri="{FF2B5EF4-FFF2-40B4-BE49-F238E27FC236}">
                <a16:creationId xmlns:a16="http://schemas.microsoft.com/office/drawing/2014/main" id="{88DD43FA-3336-4415-A3A6-54EA3C9BB987}"/>
              </a:ext>
            </a:extLst>
          </p:cNvPr>
          <p:cNvSpPr>
            <a:spLocks noGrp="1"/>
          </p:cNvSpPr>
          <p:nvPr>
            <p:ph type="title"/>
          </p:nvPr>
        </p:nvSpPr>
        <p:spPr>
          <a:xfrm>
            <a:off x="450000" y="396000"/>
            <a:ext cx="3526688" cy="1116250"/>
          </a:xfrm>
        </p:spPr>
        <p:txBody>
          <a:bodyPr/>
          <a:lstStyle/>
          <a:p>
            <a:r>
              <a:rPr lang="en-US"/>
              <a:t>Click to edit Master title style</a:t>
            </a:r>
            <a:endParaRPr lang="en-GB" dirty="0"/>
          </a:p>
        </p:txBody>
      </p:sp>
      <p:sp>
        <p:nvSpPr>
          <p:cNvPr id="7" name="Body">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1784350"/>
            <a:ext cx="3527425" cy="4164013"/>
          </a:xfrm>
        </p:spPr>
        <p:txBody>
          <a:bodyPr/>
          <a:lstStyle/>
          <a:p>
            <a:pPr lvl="0"/>
            <a:r>
              <a:rPr lang="en-US"/>
              <a:t>Click to edit Master text styles</a:t>
            </a:r>
          </a:p>
          <a:p>
            <a:pPr lvl="1"/>
            <a:r>
              <a:rPr lang="en-US"/>
              <a:t>Second level</a:t>
            </a:r>
          </a:p>
          <a:p>
            <a:pPr lvl="2"/>
            <a:r>
              <a:rPr lang="en-US"/>
              <a:t>Third level</a:t>
            </a:r>
          </a:p>
        </p:txBody>
      </p:sp>
      <p:sp>
        <p:nvSpPr>
          <p:cNvPr id="8" name="Chart area">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396000"/>
            <a:ext cx="7416800" cy="5552363"/>
          </a:xfrm>
          <a:solidFill>
            <a:srgbClr val="E8E8E8"/>
          </a:solidFill>
        </p:spPr>
        <p:txBody>
          <a:bodyPr/>
          <a:lstStyle>
            <a:lvl1pPr>
              <a:defRPr/>
            </a:lvl1pPr>
          </a:lstStyle>
          <a:p>
            <a:pPr lvl="0"/>
            <a:r>
              <a:rPr lang="en-US" dirty="0"/>
              <a:t>Area for diagram/chart</a:t>
            </a:r>
            <a:endParaRPr lang="en-GB" dirty="0"/>
          </a:p>
        </p:txBody>
      </p:sp>
    </p:spTree>
    <p:extLst>
      <p:ext uri="{BB962C8B-B14F-4D97-AF65-F5344CB8AC3E}">
        <p14:creationId xmlns:p14="http://schemas.microsoft.com/office/powerpoint/2010/main" val="245618519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userDrawn="1">
  <p:cSld name="Divider style 3">
    <p:bg>
      <p:bgPr>
        <a:solidFill>
          <a:schemeClr val="bg2"/>
        </a:solidFill>
        <a:effectLst/>
      </p:bgPr>
    </p:bg>
    <p:spTree>
      <p:nvGrpSpPr>
        <p:cNvPr id="1" name=""/>
        <p:cNvGrpSpPr/>
        <p:nvPr/>
      </p:nvGrpSpPr>
      <p:grpSpPr>
        <a:xfrm>
          <a:off x="0" y="0"/>
          <a:ext cx="0" cy="0"/>
          <a:chOff x="0" y="0"/>
          <a:chExt cx="0" cy="0"/>
        </a:xfrm>
      </p:grpSpPr>
      <p:grpSp>
        <p:nvGrpSpPr>
          <p:cNvPr id="2" name="Stripes">
            <a:extLst>
              <a:ext uri="{FF2B5EF4-FFF2-40B4-BE49-F238E27FC236}">
                <a16:creationId xmlns:a16="http://schemas.microsoft.com/office/drawing/2014/main" id="{F8363405-D317-49D9-AC09-D126FA984994}"/>
              </a:ext>
              <a:ext uri="{C183D7F6-B498-43B3-948B-1728B52AA6E4}">
                <adec:decorative xmlns:adec="http://schemas.microsoft.com/office/drawing/2017/decorative" val="1"/>
              </a:ext>
            </a:extLst>
          </p:cNvPr>
          <p:cNvGrpSpPr/>
          <p:nvPr userDrawn="1"/>
        </p:nvGrpSpPr>
        <p:grpSpPr>
          <a:xfrm>
            <a:off x="3105663" y="3048001"/>
            <a:ext cx="13736990" cy="2153546"/>
            <a:chOff x="2101012" y="2821242"/>
            <a:chExt cx="11833943" cy="1855206"/>
          </a:xfrm>
        </p:grpSpPr>
        <p:sp>
          <p:nvSpPr>
            <p:cNvPr id="7" name="Stripe 2">
              <a:extLst>
                <a:ext uri="{FF2B5EF4-FFF2-40B4-BE49-F238E27FC236}">
                  <a16:creationId xmlns:a16="http://schemas.microsoft.com/office/drawing/2014/main" id="{98175107-41F8-4124-BEB1-C15BAC8EE677}"/>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9" name="Stripe 1">
              <a:extLst>
                <a:ext uri="{FF2B5EF4-FFF2-40B4-BE49-F238E27FC236}">
                  <a16:creationId xmlns:a16="http://schemas.microsoft.com/office/drawing/2014/main" id="{457C7A43-B93F-4027-88C5-DC7A55533DF5}"/>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grpSp>
      <p:pic>
        <p:nvPicPr>
          <p:cNvPr id="8" name="Ipsos logo">
            <a:extLst>
              <a:ext uri="{FF2B5EF4-FFF2-40B4-BE49-F238E27FC236}">
                <a16:creationId xmlns:a16="http://schemas.microsoft.com/office/drawing/2014/main" id="{B00FAB51-2CDA-4D6E-92C8-20E0B1A84BA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23" name="Classification">
            <a:extLst>
              <a:ext uri="{FF2B5EF4-FFF2-40B4-BE49-F238E27FC236}">
                <a16:creationId xmlns:a16="http://schemas.microsoft.com/office/drawing/2014/main" id="{AF7F8370-89AD-4023-AA0B-97AD508D79FD}"/>
              </a:ext>
              <a:ext uri="{C183D7F6-B498-43B3-948B-1728B52AA6E4}">
                <adec:decorative xmlns:adec="http://schemas.microsoft.com/office/drawing/2017/decorative" val="1"/>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Doc Name | Month Year | Version # | Public | Internal/Client Use Only | Strictly Confidential</a:t>
            </a:r>
          </a:p>
        </p:txBody>
      </p:sp>
      <p:sp>
        <p:nvSpPr>
          <p:cNvPr id="24" name="Slide number">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sp>
        <p:nvSpPr>
          <p:cNvPr id="10" name="Section number">
            <a:extLst>
              <a:ext uri="{FF2B5EF4-FFF2-40B4-BE49-F238E27FC236}">
                <a16:creationId xmlns:a16="http://schemas.microsoft.com/office/drawing/2014/main" id="{75092690-73EF-48BE-AF76-B3DA9BCC0B7F}"/>
              </a:ext>
            </a:extLst>
          </p:cNvPr>
          <p:cNvSpPr>
            <a:spLocks noGrp="1"/>
          </p:cNvSpPr>
          <p:nvPr>
            <p:ph type="body" sz="quarter" idx="13" hasCustomPrompt="1"/>
          </p:nvPr>
        </p:nvSpPr>
        <p:spPr>
          <a:xfrm>
            <a:off x="399987" y="331696"/>
            <a:ext cx="1641475" cy="1795684"/>
          </a:xfrm>
        </p:spPr>
        <p:txBody>
          <a:bodyPr wrap="none">
            <a:spAutoFit/>
          </a:bodyPr>
          <a:lstStyle>
            <a:lvl1pPr marL="0" indent="0" algn="ctr">
              <a:buNone/>
              <a:defRPr sz="11500" b="1">
                <a:solidFill>
                  <a:schemeClr val="bg1"/>
                </a:solidFill>
              </a:defRPr>
            </a:lvl1pPr>
          </a:lstStyle>
          <a:p>
            <a:pPr lvl="0"/>
            <a:r>
              <a:rPr lang="en-GB" dirty="0"/>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399987" y="2402111"/>
            <a:ext cx="7420302" cy="747897"/>
          </a:xfrm>
        </p:spPr>
        <p:txBody>
          <a:bodyPr vert="horz" wrap="square" lIns="0" tIns="0" rIns="0" bIns="0" rtlCol="0" anchor="t">
            <a:spAutoFit/>
          </a:bodyPr>
          <a:lstStyle>
            <a:lvl1pPr>
              <a:defRPr lang="en-GB" sz="5400" cap="none" spc="0" dirty="0">
                <a:solidFill>
                  <a:schemeClr val="bg1"/>
                </a:solidFill>
                <a:latin typeface="Arial Black" panose="020B0A04020102020204" pitchFamily="34" charset="0"/>
              </a:defRPr>
            </a:lvl1pPr>
          </a:lstStyle>
          <a:p>
            <a:pPr lvl="0"/>
            <a:r>
              <a:rPr lang="en-GB" dirty="0"/>
              <a:t>Section title</a:t>
            </a:r>
          </a:p>
        </p:txBody>
      </p:sp>
      <p:sp>
        <p:nvSpPr>
          <p:cNvPr id="19" name="Subtitle">
            <a:extLst>
              <a:ext uri="{FF2B5EF4-FFF2-40B4-BE49-F238E27FC236}">
                <a16:creationId xmlns:a16="http://schemas.microsoft.com/office/drawing/2014/main" id="{9D0DDBF5-15A9-48AF-8154-A223158BFEC2}"/>
              </a:ext>
            </a:extLst>
          </p:cNvPr>
          <p:cNvSpPr>
            <a:spLocks noGrp="1"/>
          </p:cNvSpPr>
          <p:nvPr>
            <p:ph type="body" idx="1" hasCustomPrompt="1"/>
          </p:nvPr>
        </p:nvSpPr>
        <p:spPr>
          <a:xfrm>
            <a:off x="399987" y="3872467"/>
            <a:ext cx="5508848" cy="312330"/>
          </a:xfrm>
        </p:spPr>
        <p:txBody>
          <a:bodyPr wrap="square" lIns="0" rIns="0">
            <a:spAutoFit/>
          </a:bodyPr>
          <a:lstStyle>
            <a:lvl1pPr marL="0" indent="0">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ptional)</a:t>
            </a:r>
          </a:p>
        </p:txBody>
      </p:sp>
    </p:spTree>
    <p:extLst>
      <p:ext uri="{BB962C8B-B14F-4D97-AF65-F5344CB8AC3E}">
        <p14:creationId xmlns:p14="http://schemas.microsoft.com/office/powerpoint/2010/main" val="3236535366"/>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3-column content 1_box">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dirty="0"/>
              <a:t>  </a:t>
            </a:r>
          </a:p>
        </p:txBody>
      </p:sp>
      <p:sp>
        <p:nvSpPr>
          <p:cNvPr id="11" name="Title 10" descr="Header&#10;">
            <a:extLst>
              <a:ext uri="{FF2B5EF4-FFF2-40B4-BE49-F238E27FC236}">
                <a16:creationId xmlns:a16="http://schemas.microsoft.com/office/drawing/2014/main" id="{6D49A11C-7499-4B43-87FD-7D1C3BC91289}"/>
              </a:ext>
            </a:extLst>
          </p:cNvPr>
          <p:cNvSpPr>
            <a:spLocks noGrp="1"/>
          </p:cNvSpPr>
          <p:nvPr>
            <p:ph type="title" hasCustomPrompt="1"/>
          </p:nvPr>
        </p:nvSpPr>
        <p:spPr/>
        <p:txBody>
          <a:bodyPr/>
          <a:lstStyle>
            <a:lvl1pPr>
              <a:defRPr/>
            </a:lvl1pPr>
          </a:lstStyle>
          <a:p>
            <a:r>
              <a:rPr lang="en-US" dirty="0"/>
              <a:t>Text in 3 columns – will auto-format</a:t>
            </a:r>
            <a:endParaRPr lang="en-GB" dirty="0"/>
          </a:p>
        </p:txBody>
      </p:sp>
      <p:sp>
        <p:nvSpPr>
          <p:cNvPr id="6" name="Subtitle">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p:spPr>
        <p:txBody>
          <a:bodyPr numCol="3" spcCol="306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9" name="Base">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Tree>
    <p:extLst>
      <p:ext uri="{BB962C8B-B14F-4D97-AF65-F5344CB8AC3E}">
        <p14:creationId xmlns:p14="http://schemas.microsoft.com/office/powerpoint/2010/main" val="198961662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79E5F90B-4EFD-4F87-8571-C292E52EB0A8}" type="slidenum">
              <a:rPr lang="en-GB" smtClean="0"/>
              <a:t>‹#›</a:t>
            </a:fld>
            <a:endParaRPr lang="en-GB" dirty="0"/>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3836850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userDrawn="1">
  <p:cSld name="End">
    <p:bg>
      <p:bgPr>
        <a:solidFill>
          <a:schemeClr val="accent1"/>
        </a:solidFill>
        <a:effectLst/>
      </p:bgPr>
    </p:bg>
    <p:spTree>
      <p:nvGrpSpPr>
        <p:cNvPr id="1" name=""/>
        <p:cNvGrpSpPr/>
        <p:nvPr/>
      </p:nvGrpSpPr>
      <p:grpSpPr>
        <a:xfrm>
          <a:off x="0" y="0"/>
          <a:ext cx="0" cy="0"/>
          <a:chOff x="0" y="0"/>
          <a:chExt cx="0" cy="0"/>
        </a:xfrm>
      </p:grpSpPr>
      <p:pic>
        <p:nvPicPr>
          <p:cNvPr id="7" name="Ipsos logo">
            <a:extLst>
              <a:ext uri="{FF2B5EF4-FFF2-40B4-BE49-F238E27FC236}">
                <a16:creationId xmlns:a16="http://schemas.microsoft.com/office/drawing/2014/main" id="{D2ABE975-02AB-4364-ADE2-1A92E198096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29" name="Stripe 1">
            <a:extLst>
              <a:ext uri="{FF2B5EF4-FFF2-40B4-BE49-F238E27FC236}">
                <a16:creationId xmlns:a16="http://schemas.microsoft.com/office/drawing/2014/main" id="{7F299C1D-1251-47CF-8DC0-0B896E12FCE0}"/>
              </a:ext>
              <a:ext uri="{C183D7F6-B498-43B3-948B-1728B52AA6E4}">
                <adec:decorative xmlns:adec="http://schemas.microsoft.com/office/drawing/2017/decorative" val="1"/>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Stripe 2">
            <a:extLst>
              <a:ext uri="{FF2B5EF4-FFF2-40B4-BE49-F238E27FC236}">
                <a16:creationId xmlns:a16="http://schemas.microsoft.com/office/drawing/2014/main" id="{C687F725-9BAA-4FDE-BF5B-B39EF6EA033C}"/>
              </a:ext>
              <a:ext uri="{C183D7F6-B498-43B3-948B-1728B52AA6E4}">
                <adec:decorative xmlns:adec="http://schemas.microsoft.com/office/drawing/2017/decorative" val="1"/>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Contact 1">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Name:</a:t>
            </a:r>
          </a:p>
          <a:p>
            <a:pPr lvl="0"/>
            <a:r>
              <a:rPr lang="en-US" dirty="0"/>
              <a:t>Details:</a:t>
            </a:r>
          </a:p>
        </p:txBody>
      </p:sp>
      <p:sp>
        <p:nvSpPr>
          <p:cNvPr id="10" name="Contact 2">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Name:</a:t>
            </a:r>
          </a:p>
          <a:p>
            <a:pPr lvl="0"/>
            <a:r>
              <a:rPr lang="en-US" dirty="0"/>
              <a:t>Details:</a:t>
            </a:r>
          </a:p>
        </p:txBody>
      </p:sp>
    </p:spTree>
    <p:extLst>
      <p:ext uri="{BB962C8B-B14F-4D97-AF65-F5344CB8AC3E}">
        <p14:creationId xmlns:p14="http://schemas.microsoft.com/office/powerpoint/2010/main" val="253772596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E6EF22D-7DBE-4099-99F0-B83DD9779912}" type="datetimeFigureOut">
              <a:rPr kumimoji="0" lang="en-GB" sz="10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9/11/2023</a:t>
            </a:fld>
            <a:endParaRPr kumimoji="0" lang="en-GB" sz="1000" b="0" i="0" u="none" strike="noStrike" kern="1200" cap="none" spc="0" normalizeH="0" baseline="0" noProof="0">
              <a:ln>
                <a:noFill/>
              </a:ln>
              <a:solidFill>
                <a:prstClr val="white"/>
              </a:solidFill>
              <a:effectLst/>
              <a:uLnTx/>
              <a:uFillTx/>
              <a:latin typeface="Arial"/>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latin typeface="Arial"/>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623F64F-6692-49A2-80FF-3D660AAAEE7A}" type="slidenum">
              <a:rPr kumimoji="0" lang="en-GB" sz="10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prstClr val="white"/>
              </a:solidFill>
              <a:effectLst/>
              <a:uLnTx/>
              <a:uFillTx/>
              <a:latin typeface="Arial"/>
              <a:ea typeface="+mn-ea"/>
              <a:cs typeface="+mn-cs"/>
            </a:endParaRPr>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36083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E6EF22D-7DBE-4099-99F0-B83DD9779912}" type="datetimeFigureOut">
              <a:rPr kumimoji="0" lang="en-GB" sz="10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9/11/2023</a:t>
            </a:fld>
            <a:endParaRPr kumimoji="0" lang="en-GB" sz="1000" b="0" i="0" u="none" strike="noStrike" kern="1200" cap="none" spc="0" normalizeH="0" baseline="0" noProof="0">
              <a:ln>
                <a:noFill/>
              </a:ln>
              <a:solidFill>
                <a:prstClr val="white"/>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latin typeface="Arial"/>
              <a:ea typeface="+mn-ea"/>
              <a:cs typeface="+mn-cs"/>
            </a:endParaRPr>
          </a:p>
        </p:txBody>
      </p:sp>
      <p:sp>
        <p:nvSpPr>
          <p:cNvPr id="7" name="Slide Number Placeholder 6"/>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623F64F-6692-49A2-80FF-3D660AAAEE7A}" type="slidenum">
              <a:rPr kumimoji="0" lang="en-GB" sz="10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prstClr val="white"/>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50744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29/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366320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29/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653690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427581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3915">
          <p15:clr>
            <a:srgbClr val="FBAE40"/>
          </p15:clr>
        </p15:guide>
        <p15:guide id="3" orient="horz" pos="4025">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1129603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75964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556260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2" name="Straight Connector 11"/>
          <p:cNvCxnSpPr/>
          <p:nvPr userDrawn="1"/>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32508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818748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81472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9E5F90B-4EFD-4F87-8571-C292E52EB0A8}" type="slidenum">
              <a:rPr lang="en-GB" smtClean="0"/>
              <a:t>‹#›</a:t>
            </a:fld>
            <a:endParaRPr lang="en-GB" dirty="0"/>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3893908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r>
              <a:rPr lang="en-US" dirty="0"/>
              <a:t>Click icon to add picture</a:t>
            </a:r>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r>
              <a:rPr lang="en-US" dirty="0"/>
              <a:t>Click icon to add picture</a:t>
            </a:r>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r>
              <a:rPr lang="en-US" dirty="0"/>
              <a:t>Click icon to add picture</a:t>
            </a:r>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r>
              <a:rPr lang="en-US" dirty="0"/>
              <a:t>Click icon to add picture</a:t>
            </a:r>
            <a:endParaRPr lang="en-GB" dirty="0"/>
          </a:p>
        </p:txBody>
      </p:sp>
      <p:sp>
        <p:nvSpPr>
          <p:cNvPr id="2" name="Date Placeholder 1"/>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79E5F90B-4EFD-4F87-8571-C292E52EB0A8}" type="slidenum">
              <a:rPr lang="en-GB" smtClean="0"/>
              <a:t>‹#›</a:t>
            </a:fld>
            <a:endParaRPr lang="en-GB" dirty="0"/>
          </a:p>
        </p:txBody>
      </p:sp>
    </p:spTree>
    <p:custDataLst>
      <p:tags r:id="rId1"/>
    </p:custDataLst>
    <p:extLst>
      <p:ext uri="{BB962C8B-B14F-4D97-AF65-F5344CB8AC3E}">
        <p14:creationId xmlns:p14="http://schemas.microsoft.com/office/powerpoint/2010/main" val="2966729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22" name="Straight Connector 21"/>
          <p:cNvCxnSpPr/>
          <p:nvPr userDrawn="1"/>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2651739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22" name="Straight Connector 21"/>
          <p:cNvCxnSpPr/>
          <p:nvPr userDrawn="1"/>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endParaRPr lang="en-GB"/>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userDrawn="1"/>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custDataLst>
      <p:tags r:id="rId1"/>
    </p:custDataLst>
    <p:extLst>
      <p:ext uri="{BB962C8B-B14F-4D97-AF65-F5344CB8AC3E}">
        <p14:creationId xmlns:p14="http://schemas.microsoft.com/office/powerpoint/2010/main" val="2635737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endParaRPr lang="en-GB"/>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164748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48813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5442018"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553536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70385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119441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29/1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508763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29/1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262089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29/1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2595158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79E5F90B-4EFD-4F87-8571-C292E52EB0A8}" type="slidenum">
              <a:rPr lang="en-GB" smtClean="0"/>
              <a:t>‹#›</a:t>
            </a:fld>
            <a:endParaRPr lang="en-GB" dirty="0"/>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r>
              <a:rPr lang="en-US" dirty="0"/>
              <a:t>Click icon to add media</a:t>
            </a:r>
            <a:endParaRPr lang="en-GB" dirty="0"/>
          </a:p>
        </p:txBody>
      </p:sp>
    </p:spTree>
    <p:custDataLst>
      <p:tags r:id="rId1"/>
    </p:custDataLst>
    <p:extLst>
      <p:ext uri="{BB962C8B-B14F-4D97-AF65-F5344CB8AC3E}">
        <p14:creationId xmlns:p14="http://schemas.microsoft.com/office/powerpoint/2010/main" val="3895974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064490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29/11/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endParaRPr lang="en-GB"/>
          </a:p>
        </p:txBody>
      </p:sp>
    </p:spTree>
    <p:custDataLst>
      <p:tags r:id="rId1"/>
    </p:custDataLst>
    <p:extLst>
      <p:ext uri="{BB962C8B-B14F-4D97-AF65-F5344CB8AC3E}">
        <p14:creationId xmlns:p14="http://schemas.microsoft.com/office/powerpoint/2010/main" val="358834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29/11/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1847350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6623F64F-6692-49A2-80FF-3D660AAAEE7A}" type="slidenum">
              <a:rPr lang="en-GB" smtClean="0"/>
              <a:pPr/>
              <a:t>‹#›</a:t>
            </a:fld>
            <a:endParaRPr lang="en-GB" dirty="0"/>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endParaRPr lang="en-GB"/>
          </a:p>
        </p:txBody>
      </p:sp>
    </p:spTree>
    <p:custDataLst>
      <p:tags r:id="rId1"/>
    </p:custDataLst>
    <p:extLst>
      <p:ext uri="{BB962C8B-B14F-4D97-AF65-F5344CB8AC3E}">
        <p14:creationId xmlns:p14="http://schemas.microsoft.com/office/powerpoint/2010/main" val="251900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364511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990721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667272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350692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418627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128098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r>
              <a:rPr lang="en-US" dirty="0"/>
              <a:t>Click icon to add picture</a:t>
            </a:r>
            <a:endParaRPr lang="en-GB" dirty="0"/>
          </a:p>
        </p:txBody>
      </p:sp>
      <p:sp>
        <p:nvSpPr>
          <p:cNvPr id="8" name="Freeform 8"/>
          <p:cNvSpPr>
            <a:spLocks/>
          </p:cNvSpPr>
          <p:nvPr/>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274400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29/11/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835679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29/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dirty="0"/>
              <a:t>Edit Master text styles</a:t>
            </a:r>
          </a:p>
        </p:txBody>
      </p:sp>
    </p:spTree>
    <p:custDataLst>
      <p:tags r:id="rId1"/>
    </p:custDataLst>
    <p:extLst>
      <p:ext uri="{BB962C8B-B14F-4D97-AF65-F5344CB8AC3E}">
        <p14:creationId xmlns:p14="http://schemas.microsoft.com/office/powerpoint/2010/main" val="2805414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2" y="5168188"/>
            <a:ext cx="2858127" cy="357149"/>
          </a:xfrm>
        </p:spPr>
        <p:txBody>
          <a:bodyPr/>
          <a:lstStyle>
            <a:lvl1pPr>
              <a:defRPr>
                <a:solidFill>
                  <a:schemeClr val="bg2"/>
                </a:solidFill>
              </a:defRPr>
            </a:lvl1pPr>
            <a:lvl2pPr marL="0" indent="0">
              <a:buNone/>
              <a:defRPr/>
            </a:lvl2pPr>
          </a:lstStyle>
          <a:p>
            <a:pPr lvl="0"/>
            <a:r>
              <a:rPr lang="en-US"/>
              <a:t>Edit Master text styles</a:t>
            </a:r>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r>
              <a:rPr lang="en-US" dirty="0"/>
              <a:t>Click icon to add picture</a:t>
            </a:r>
            <a:endParaRPr lang="en-GB" dirty="0"/>
          </a:p>
        </p:txBody>
      </p:sp>
      <p:sp>
        <p:nvSpPr>
          <p:cNvPr id="9" name="Freeform 8"/>
          <p:cNvSpPr>
            <a:spLocks/>
          </p:cNvSpPr>
          <p:nvPr/>
        </p:nvSpPr>
        <p:spPr bwMode="auto">
          <a:xfrm>
            <a:off x="463293" y="5047097"/>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4082269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1721469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340513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1087868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ress cuttings">
    <p:spTree>
      <p:nvGrpSpPr>
        <p:cNvPr id="1" name=""/>
        <p:cNvGrpSpPr/>
        <p:nvPr/>
      </p:nvGrpSpPr>
      <p:grpSpPr>
        <a:xfrm>
          <a:off x="0" y="0"/>
          <a:ext cx="0" cy="0"/>
          <a:chOff x="0" y="0"/>
          <a:chExt cx="0" cy="0"/>
        </a:xfrm>
      </p:grpSpPr>
      <p:sp>
        <p:nvSpPr>
          <p:cNvPr id="8" name="Rectangle 7"/>
          <p:cNvSpPr/>
          <p:nvPr/>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865872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79E5F90B-4EFD-4F87-8571-C292E52EB0A8}" type="slidenum">
              <a:rPr lang="en-GB" smtClean="0"/>
              <a:t>‹#›</a:t>
            </a:fld>
            <a:endParaRPr lang="en-GB" dirty="0"/>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425835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9E5F90B-4EFD-4F87-8571-C292E52EB0A8}" type="slidenum">
              <a:rPr lang="en-GB" smtClean="0"/>
              <a:t>‹#›</a:t>
            </a:fld>
            <a:endParaRPr lang="en-GB" dirty="0"/>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97304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a:t>Edit Master text styles</a:t>
            </a:r>
          </a:p>
        </p:txBody>
      </p:sp>
    </p:spTree>
    <p:custDataLst>
      <p:tags r:id="rId1"/>
    </p:custDataLst>
    <p:extLst>
      <p:ext uri="{BB962C8B-B14F-4D97-AF65-F5344CB8AC3E}">
        <p14:creationId xmlns:p14="http://schemas.microsoft.com/office/powerpoint/2010/main" val="2189081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7D4F53B-E777-4D22-BF14-5A6FF8D3BEAE}" type="datetimeFigureOut">
              <a:rPr lang="en-GB" smtClean="0"/>
              <a:t>29/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FBDBA1E-F2E9-4EAB-A2DA-23DB5AEB00CA}" type="slidenum">
              <a:rPr lang="en-GB" smtClean="0"/>
              <a:t>‹#›</a:t>
            </a:fld>
            <a:endParaRPr lang="en-GB"/>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3858303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7D4F53B-E777-4D22-BF14-5A6FF8D3BEAE}" type="datetimeFigureOut">
              <a:rPr lang="en-GB" smtClean="0"/>
              <a:t>29/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FBDBA1E-F2E9-4EAB-A2DA-23DB5AEB00C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732707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a:t>Edit Master text styles</a:t>
            </a:r>
          </a:p>
        </p:txBody>
      </p:sp>
    </p:spTree>
    <p:custDataLst>
      <p:tags r:id="rId1"/>
    </p:custDataLst>
    <p:extLst>
      <p:ext uri="{BB962C8B-B14F-4D97-AF65-F5344CB8AC3E}">
        <p14:creationId xmlns:p14="http://schemas.microsoft.com/office/powerpoint/2010/main" val="1892672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9" name="Content Placeholder 7"/>
          <p:cNvSpPr>
            <a:spLocks noGrp="1"/>
          </p:cNvSpPr>
          <p:nvPr>
            <p:ph sz="quarter" idx="14"/>
          </p:nvPr>
        </p:nvSpPr>
        <p:spPr>
          <a:xfrm>
            <a:off x="379142" y="1614207"/>
            <a:ext cx="1129603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8" name="Straight Connector 7"/>
          <p:cNvCxnSpPr/>
          <p:nvPr/>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025258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9" name="Content Placeholder 7"/>
          <p:cNvSpPr>
            <a:spLocks noGrp="1"/>
          </p:cNvSpPr>
          <p:nvPr>
            <p:ph sz="quarter" idx="14"/>
          </p:nvPr>
        </p:nvSpPr>
        <p:spPr>
          <a:xfrm>
            <a:off x="379142" y="1614207"/>
            <a:ext cx="556260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8" name="Straight Connector 7"/>
          <p:cNvCxnSpPr/>
          <p:nvPr/>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2" name="Straight Connector 11"/>
          <p:cNvCxnSpPr/>
          <p:nvPr/>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671149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3940667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2505444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0" name="Straight Connector 9"/>
          <p:cNvCxnSpPr/>
          <p:nvPr/>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p:cNvCxnSpPr/>
          <p:nvPr/>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22" name="Straight Connector 21"/>
          <p:cNvCxnSpPr/>
          <p:nvPr/>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r>
              <a:rPr lang="en-US"/>
              <a:t>Click icon to add picture</a:t>
            </a:r>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r>
              <a:rPr lang="en-US"/>
              <a:t>Click icon to add picture</a:t>
            </a:r>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1234688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0" name="Straight Connector 9"/>
          <p:cNvCxnSpPr/>
          <p:nvPr/>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p:cNvCxnSpPr/>
          <p:nvPr/>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22" name="Straight Connector 21"/>
          <p:cNvCxnSpPr/>
          <p:nvPr/>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r>
              <a:rPr lang="en-US"/>
              <a:t>Click icon to add picture</a:t>
            </a:r>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r>
              <a:rPr lang="en-US"/>
              <a:t>Click icon to add picture</a:t>
            </a:r>
            <a:endParaRPr lang="en-GB"/>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r>
              <a:rPr lang="en-US"/>
              <a:t>Click icon to add picture</a:t>
            </a:r>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r>
              <a:rPr lang="en-US"/>
              <a:t>Click icon to add picture</a:t>
            </a:r>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custDataLst>
      <p:tags r:id="rId1"/>
    </p:custDataLst>
    <p:extLst>
      <p:ext uri="{BB962C8B-B14F-4D97-AF65-F5344CB8AC3E}">
        <p14:creationId xmlns:p14="http://schemas.microsoft.com/office/powerpoint/2010/main" val="4127716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r>
              <a:rPr lang="en-US"/>
              <a:t>Click icon to add picture</a:t>
            </a:r>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r>
              <a:rPr lang="en-US"/>
              <a:t>Click icon to add picture</a:t>
            </a:r>
            <a:endParaRPr lang="en-GB"/>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r>
              <a:rPr lang="en-US"/>
              <a:t>Click icon to add picture</a:t>
            </a:r>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1849376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9" name="Content Placeholder 7"/>
          <p:cNvSpPr>
            <a:spLocks noGrp="1"/>
          </p:cNvSpPr>
          <p:nvPr>
            <p:ph sz="quarter" idx="14"/>
          </p:nvPr>
        </p:nvSpPr>
        <p:spPr>
          <a:xfrm>
            <a:off x="379142" y="1614207"/>
            <a:ext cx="1129603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8" name="Straight Connector 7"/>
          <p:cNvCxnSpPr/>
          <p:nvPr/>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20655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186980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7" name="Text Placeholder 6"/>
          <p:cNvSpPr>
            <a:spLocks noGrp="1"/>
          </p:cNvSpPr>
          <p:nvPr>
            <p:ph type="body" sz="quarter" idx="13"/>
          </p:nvPr>
        </p:nvSpPr>
        <p:spPr>
          <a:xfrm>
            <a:off x="377758" y="1614207"/>
            <a:ext cx="5442018"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r>
              <a:rPr lang="en-US"/>
              <a:t>Click icon to add picture</a:t>
            </a:r>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2334386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3108650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1051345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7D4F53B-E777-4D22-BF14-5A6FF8D3BEAE}" type="datetimeFigureOut">
              <a:rPr lang="en-GB" smtClean="0"/>
              <a:t>29/1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9FBDBA1E-F2E9-4EAB-A2DA-23DB5AEB00CA}" type="slidenum">
              <a:rPr lang="en-GB" smtClean="0"/>
              <a:t>‹#›</a:t>
            </a:fld>
            <a:endParaRPr lang="en-GB"/>
          </a:p>
        </p:txBody>
      </p:sp>
    </p:spTree>
    <p:custDataLst>
      <p:tags r:id="rId1"/>
    </p:custDataLst>
    <p:extLst>
      <p:ext uri="{BB962C8B-B14F-4D97-AF65-F5344CB8AC3E}">
        <p14:creationId xmlns:p14="http://schemas.microsoft.com/office/powerpoint/2010/main" val="2024050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7D4F53B-E777-4D22-BF14-5A6FF8D3BEAE}" type="datetimeFigureOut">
              <a:rPr lang="en-GB" smtClean="0"/>
              <a:t>29/1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9FBDBA1E-F2E9-4EAB-A2DA-23DB5AEB00CA}" type="slidenum">
              <a:rPr lang="en-GB" smtClean="0"/>
              <a:t>‹#›</a:t>
            </a:fld>
            <a:endParaRPr lang="en-GB"/>
          </a:p>
        </p:txBody>
      </p:sp>
    </p:spTree>
    <p:custDataLst>
      <p:tags r:id="rId1"/>
    </p:custDataLst>
    <p:extLst>
      <p:ext uri="{BB962C8B-B14F-4D97-AF65-F5344CB8AC3E}">
        <p14:creationId xmlns:p14="http://schemas.microsoft.com/office/powerpoint/2010/main" val="2595751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7D4F53B-E777-4D22-BF14-5A6FF8D3BEAE}" type="datetimeFigureOut">
              <a:rPr lang="en-GB" smtClean="0"/>
              <a:t>29/1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9FBDBA1E-F2E9-4EAB-A2DA-23DB5AEB00CA}" type="slidenum">
              <a:rPr lang="en-GB" smtClean="0"/>
              <a:t>‹#›</a:t>
            </a:fld>
            <a:endParaRPr lang="en-GB"/>
          </a:p>
        </p:txBody>
      </p:sp>
    </p:spTree>
    <p:custDataLst>
      <p:tags r:id="rId1"/>
    </p:custDataLst>
    <p:extLst>
      <p:ext uri="{BB962C8B-B14F-4D97-AF65-F5344CB8AC3E}">
        <p14:creationId xmlns:p14="http://schemas.microsoft.com/office/powerpoint/2010/main" val="2433932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11" name="Straight Connector 10"/>
          <p:cNvCxnSpPr/>
          <p:nvPr/>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01061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4F53B-E777-4D22-BF14-5A6FF8D3BEAE}" type="datetimeFigureOut">
              <a:rPr lang="en-GB" smtClean="0"/>
              <a:t>29/11/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9FBDBA1E-F2E9-4EAB-A2DA-23DB5AEB00CA}" type="slidenum">
              <a:rPr lang="en-GB" smtClean="0"/>
              <a:t>‹#›</a:t>
            </a:fld>
            <a:endParaRPr lang="en-GB"/>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r>
              <a:rPr lang="en-US"/>
              <a:t>Click icon to add picture</a:t>
            </a:r>
            <a:endParaRPr lang="en-GB"/>
          </a:p>
        </p:txBody>
      </p:sp>
    </p:spTree>
    <p:custDataLst>
      <p:tags r:id="rId1"/>
    </p:custDataLst>
    <p:extLst>
      <p:ext uri="{BB962C8B-B14F-4D97-AF65-F5344CB8AC3E}">
        <p14:creationId xmlns:p14="http://schemas.microsoft.com/office/powerpoint/2010/main" val="2239094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r>
              <a:rPr lang="en-US"/>
              <a:t>Click icon to add picture</a:t>
            </a:r>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r>
              <a:rPr lang="en-US"/>
              <a:t>Click icon to add picture</a:t>
            </a:r>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r>
              <a:rPr lang="en-US"/>
              <a:t>Click icon to add picture</a:t>
            </a:r>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r>
              <a:rPr lang="en-US"/>
              <a:t>Click icon to add picture</a:t>
            </a:r>
            <a:endParaRPr lang="en-GB" dirty="0"/>
          </a:p>
        </p:txBody>
      </p:sp>
      <p:sp>
        <p:nvSpPr>
          <p:cNvPr id="2" name="Date Placeholder 1"/>
          <p:cNvSpPr>
            <a:spLocks noGrp="1"/>
          </p:cNvSpPr>
          <p:nvPr>
            <p:ph type="dt" sz="half" idx="10"/>
          </p:nvPr>
        </p:nvSpPr>
        <p:spPr/>
        <p:txBody>
          <a:bodyPr/>
          <a:lstStyle/>
          <a:p>
            <a:fld id="{87D4F53B-E777-4D22-BF14-5A6FF8D3BEAE}" type="datetimeFigureOut">
              <a:rPr lang="en-GB" smtClean="0"/>
              <a:t>29/11/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9FBDBA1E-F2E9-4EAB-A2DA-23DB5AEB00CA}" type="slidenum">
              <a:rPr lang="en-GB" smtClean="0"/>
              <a:t>‹#›</a:t>
            </a:fld>
            <a:endParaRPr lang="en-GB"/>
          </a:p>
        </p:txBody>
      </p:sp>
    </p:spTree>
    <p:custDataLst>
      <p:tags r:id="rId1"/>
    </p:custDataLst>
    <p:extLst>
      <p:ext uri="{BB962C8B-B14F-4D97-AF65-F5344CB8AC3E}">
        <p14:creationId xmlns:p14="http://schemas.microsoft.com/office/powerpoint/2010/main" val="2181084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9" name="Content Placeholder 7"/>
          <p:cNvSpPr>
            <a:spLocks noGrp="1"/>
          </p:cNvSpPr>
          <p:nvPr>
            <p:ph sz="quarter" idx="14"/>
          </p:nvPr>
        </p:nvSpPr>
        <p:spPr>
          <a:xfrm>
            <a:off x="379142" y="1614207"/>
            <a:ext cx="556260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8" name="Straight Connector 7"/>
          <p:cNvCxnSpPr/>
          <p:nvPr/>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2" name="Straight Connector 11"/>
          <p:cNvCxnSpPr/>
          <p:nvPr/>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33455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87D4F53B-E777-4D22-BF14-5A6FF8D3BEAE}" type="datetimeFigureOut">
              <a:rPr lang="en-GB" smtClean="0"/>
              <a:t>29/11/2023</a:t>
            </a:fld>
            <a:endParaRPr lang="en-GB"/>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9FBDBA1E-F2E9-4EAB-A2DA-23DB5AEB00CA}" type="slidenum">
              <a:rPr lang="en-GB" smtClean="0"/>
              <a:t>‹#›</a:t>
            </a:fld>
            <a:endParaRPr lang="en-GB"/>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r>
              <a:rPr lang="en-US"/>
              <a:t>Click icon to add media</a:t>
            </a:r>
            <a:endParaRPr lang="en-GB"/>
          </a:p>
        </p:txBody>
      </p:sp>
    </p:spTree>
    <p:custDataLst>
      <p:tags r:id="rId1"/>
    </p:custDataLst>
    <p:extLst>
      <p:ext uri="{BB962C8B-B14F-4D97-AF65-F5344CB8AC3E}">
        <p14:creationId xmlns:p14="http://schemas.microsoft.com/office/powerpoint/2010/main" val="1395220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r>
              <a:rPr lang="en-US"/>
              <a:t>Click icon to add picture</a:t>
            </a:r>
            <a:endParaRPr lang="en-GB" dirty="0"/>
          </a:p>
        </p:txBody>
      </p:sp>
      <p:sp>
        <p:nvSpPr>
          <p:cNvPr id="8" name="Freeform 8"/>
          <p:cNvSpPr>
            <a:spLocks/>
          </p:cNvSpPr>
          <p:nvPr/>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125149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r>
              <a:rPr lang="en-US"/>
              <a:t>Click icon to add picture</a:t>
            </a:r>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r>
              <a:rPr lang="en-US"/>
              <a:t>Click icon to add picture</a:t>
            </a:r>
            <a:endParaRPr lang="en-GB" dirty="0"/>
          </a:p>
        </p:txBody>
      </p:sp>
      <p:sp>
        <p:nvSpPr>
          <p:cNvPr id="9" name="Freeform 8"/>
          <p:cNvSpPr>
            <a:spLocks/>
          </p:cNvSpPr>
          <p:nvPr/>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193137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100683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3544810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3301979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Press cuttings">
    <p:spTree>
      <p:nvGrpSpPr>
        <p:cNvPr id="1" name=""/>
        <p:cNvGrpSpPr/>
        <p:nvPr/>
      </p:nvGrpSpPr>
      <p:grpSpPr>
        <a:xfrm>
          <a:off x="0" y="0"/>
          <a:ext cx="0" cy="0"/>
          <a:chOff x="0" y="0"/>
          <a:chExt cx="0" cy="0"/>
        </a:xfrm>
      </p:grpSpPr>
      <p:sp>
        <p:nvSpPr>
          <p:cNvPr id="8" name="Rectangle 7"/>
          <p:cNvSpPr/>
          <p:nvPr/>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2746504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4F53B-E777-4D22-BF14-5A6FF8D3BEAE}" type="datetimeFigureOut">
              <a:rPr lang="en-GB" smtClean="0"/>
              <a:t>29/11/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9FBDBA1E-F2E9-4EAB-A2DA-23DB5AEB00CA}" type="slidenum">
              <a:rPr lang="en-GB" smtClean="0"/>
              <a:t>‹#›</a:t>
            </a:fld>
            <a:endParaRPr lang="en-GB"/>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2198029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7D4F53B-E777-4D22-BF14-5A6FF8D3BEAE}" type="datetimeFigureOut">
              <a:rPr lang="en-GB" smtClean="0"/>
              <a:t>29/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FBDBA1E-F2E9-4EAB-A2DA-23DB5AEB00CA}" type="slidenum">
              <a:rPr lang="en-GB" smtClean="0"/>
              <a:t>‹#›</a:t>
            </a:fld>
            <a:endParaRPr lang="en-GB"/>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1306113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9164"/>
            <a:ext cx="10094912" cy="957509"/>
          </a:xfrm>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54F67E03-C16F-4D47-BA0F-C964DEC7C6A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AF3B5EE3-1294-4C67-BFA9-F819AB347851}" type="slidenum">
              <a:rPr lang="en-GB" smtClean="0"/>
              <a:t>‹#›</a:t>
            </a:fld>
            <a:endParaRPr lang="en-GB"/>
          </a:p>
        </p:txBody>
      </p:sp>
    </p:spTree>
    <p:extLst>
      <p:ext uri="{BB962C8B-B14F-4D97-AF65-F5344CB8AC3E}">
        <p14:creationId xmlns:p14="http://schemas.microsoft.com/office/powerpoint/2010/main" val="3041653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4368867" cy="365153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248194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29/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326794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29/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3256785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80742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3915">
          <p15:clr>
            <a:srgbClr val="FBAE40"/>
          </p15:clr>
        </p15:guide>
        <p15:guide id="3" orient="horz" pos="4025">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1129603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67431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556260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2" name="Straight Connector 11"/>
          <p:cNvCxnSpPr/>
          <p:nvPr userDrawn="1"/>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725103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315113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467864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22" name="Straight Connector 21"/>
          <p:cNvCxnSpPr/>
          <p:nvPr userDrawn="1"/>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78892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22" name="Straight Connector 21"/>
          <p:cNvCxnSpPr/>
          <p:nvPr userDrawn="1"/>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endParaRPr lang="en-GB"/>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userDrawn="1"/>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custDataLst>
      <p:tags r:id="rId1"/>
    </p:custDataLst>
    <p:extLst>
      <p:ext uri="{BB962C8B-B14F-4D97-AF65-F5344CB8AC3E}">
        <p14:creationId xmlns:p14="http://schemas.microsoft.com/office/powerpoint/2010/main" val="4048743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endParaRPr lang="en-GB"/>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2384286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r>
              <a:rPr lang="en-US" dirty="0"/>
              <a:t>Click icon to add picture</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461662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212150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5442018"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212728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196180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14098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29/1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2065703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29/1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1394140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29/11/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2752036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29/11/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06673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29/11/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endParaRPr lang="en-GB"/>
          </a:p>
        </p:txBody>
      </p:sp>
    </p:spTree>
    <p:custDataLst>
      <p:tags r:id="rId1"/>
    </p:custDataLst>
    <p:extLst>
      <p:ext uri="{BB962C8B-B14F-4D97-AF65-F5344CB8AC3E}">
        <p14:creationId xmlns:p14="http://schemas.microsoft.com/office/powerpoint/2010/main" val="258097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29/11/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3764878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0" name="Straight Connector 9"/>
          <p:cNvCxnSpPr/>
          <p:nvPr/>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p:cNvCxnSpPr/>
          <p:nvPr/>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22" name="Straight Connector 21"/>
          <p:cNvCxnSpPr/>
          <p:nvPr/>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r>
              <a:rPr lang="en-US" dirty="0"/>
              <a:t>Click icon to add picture</a:t>
            </a:r>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r>
              <a:rPr lang="en-US" dirty="0"/>
              <a:t>Click icon to add picture</a:t>
            </a:r>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3258319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6623F64F-6692-49A2-80FF-3D660AAAEE7A}" type="slidenum">
              <a:rPr lang="en-GB" smtClean="0"/>
              <a:pPr/>
              <a:t>‹#›</a:t>
            </a:fld>
            <a:endParaRPr lang="en-GB" dirty="0"/>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endParaRPr lang="en-GB"/>
          </a:p>
        </p:txBody>
      </p:sp>
    </p:spTree>
    <p:custDataLst>
      <p:tags r:id="rId1"/>
    </p:custDataLst>
    <p:extLst>
      <p:ext uri="{BB962C8B-B14F-4D97-AF65-F5344CB8AC3E}">
        <p14:creationId xmlns:p14="http://schemas.microsoft.com/office/powerpoint/2010/main" val="171156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292301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1356615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1310173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2926039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315473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824383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29/11/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010005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29/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dirty="0"/>
              <a:t>Edit Master text styles</a:t>
            </a:r>
          </a:p>
        </p:txBody>
      </p:sp>
    </p:spTree>
    <p:custDataLst>
      <p:tags r:id="rId1"/>
    </p:custDataLst>
    <p:extLst>
      <p:ext uri="{BB962C8B-B14F-4D97-AF65-F5344CB8AC3E}">
        <p14:creationId xmlns:p14="http://schemas.microsoft.com/office/powerpoint/2010/main" val="1913047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cSld name="Line Title">
    <p:spTree>
      <p:nvGrpSpPr>
        <p:cNvPr id="1" name=""/>
        <p:cNvGrpSpPr/>
        <p:nvPr/>
      </p:nvGrpSpPr>
      <p:grpSpPr>
        <a:xfrm>
          <a:off x="0" y="0"/>
          <a:ext cx="0" cy="0"/>
          <a:chOff x="0" y="0"/>
          <a:chExt cx="0" cy="0"/>
        </a:xfrm>
      </p:grpSpPr>
      <p:sp>
        <p:nvSpPr>
          <p:cNvPr id="9" name="Rectangle 8"/>
          <p:cNvSpPr/>
          <p:nvPr/>
        </p:nvSpPr>
        <p:spPr>
          <a:xfrm>
            <a:off x="0" y="0"/>
            <a:ext cx="12192000" cy="685800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en-GB"/>
          </a:p>
        </p:txBody>
      </p:sp>
      <p:sp>
        <p:nvSpPr>
          <p:cNvPr id="2" name="Title 1"/>
          <p:cNvSpPr>
            <a:spLocks noGrp="1"/>
          </p:cNvSpPr>
          <p:nvPr>
            <p:ph type="ctrTitle"/>
          </p:nvPr>
        </p:nvSpPr>
        <p:spPr>
          <a:xfrm>
            <a:off x="576648" y="804344"/>
            <a:ext cx="3887171" cy="2112000"/>
          </a:xfrm>
        </p:spPr>
        <p:txBody>
          <a:bodyPr anchor="t">
            <a:normAutofit/>
          </a:bodyPr>
          <a:lstStyle>
            <a:lvl1pPr algn="l">
              <a:defRPr sz="370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576648" y="2938157"/>
            <a:ext cx="3887171" cy="2123024"/>
          </a:xfrm>
        </p:spPr>
        <p:txBody>
          <a:bodyPr>
            <a:normAutofit/>
          </a:bodyPr>
          <a:lstStyle>
            <a:lvl1pPr marL="0" indent="0" algn="l">
              <a:buNone/>
              <a:defRPr sz="190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GB" dirty="0"/>
          </a:p>
        </p:txBody>
      </p:sp>
      <p:sp>
        <p:nvSpPr>
          <p:cNvPr id="4" name="Date Placeholder 3"/>
          <p:cNvSpPr>
            <a:spLocks noGrp="1"/>
          </p:cNvSpPr>
          <p:nvPr>
            <p:ph type="dt" sz="half" idx="10"/>
          </p:nvPr>
        </p:nvSpPr>
        <p:spPr>
          <a:xfrm>
            <a:off x="576648" y="548680"/>
            <a:ext cx="2844800" cy="240000"/>
          </a:xfrm>
        </p:spPr>
        <p:txBody>
          <a:bodyPr/>
          <a:lstStyle>
            <a:lvl1pPr>
              <a:defRPr sz="1400" b="1">
                <a:solidFill>
                  <a:schemeClr val="bg1"/>
                </a:solidFill>
              </a:defRPr>
            </a:lvl1pPr>
          </a:lstStyle>
          <a:p>
            <a:fld id="{59585B9F-EF5C-4314-BCBC-A6F82ED753B2}" type="datetimeFigureOut">
              <a:rPr lang="en-GB" smtClean="0"/>
              <a:pPr/>
              <a:t>29/11/2023</a:t>
            </a:fld>
            <a:endParaRPr lang="en-GB" dirty="0"/>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A73F885-FE6B-4251-84D2-F6CEF084999B}" type="slidenum">
              <a:rPr lang="en-GB" smtClean="0"/>
              <a:t>‹#›</a:t>
            </a:fld>
            <a:endParaRPr lang="en-GB"/>
          </a:p>
        </p:txBody>
      </p:sp>
      <p:cxnSp>
        <p:nvCxnSpPr>
          <p:cNvPr id="7" name="Straight Connector 6"/>
          <p:cNvCxnSpPr/>
          <p:nvPr/>
        </p:nvCxnSpPr>
        <p:spPr>
          <a:xfrm>
            <a:off x="716827" y="488405"/>
            <a:ext cx="36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16827" y="488405"/>
            <a:ext cx="36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0" y="0"/>
            <a:ext cx="12192000" cy="685800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en-GB"/>
          </a:p>
        </p:txBody>
      </p:sp>
      <p:cxnSp>
        <p:nvCxnSpPr>
          <p:cNvPr id="12" name="Straight Connector 11"/>
          <p:cNvCxnSpPr/>
          <p:nvPr/>
        </p:nvCxnSpPr>
        <p:spPr>
          <a:xfrm>
            <a:off x="716827" y="488405"/>
            <a:ext cx="36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0" y="0"/>
            <a:ext cx="12192000" cy="685800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en-GB"/>
          </a:p>
        </p:txBody>
      </p:sp>
      <p:cxnSp>
        <p:nvCxnSpPr>
          <p:cNvPr id="14" name="Straight Connector 13"/>
          <p:cNvCxnSpPr/>
          <p:nvPr/>
        </p:nvCxnSpPr>
        <p:spPr>
          <a:xfrm>
            <a:off x="716827" y="488405"/>
            <a:ext cx="36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p:cNvSpPr/>
          <p:nvPr userDrawn="1"/>
        </p:nvSpPr>
        <p:spPr>
          <a:xfrm>
            <a:off x="0" y="0"/>
            <a:ext cx="12192000" cy="685800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en-GB"/>
          </a:p>
        </p:txBody>
      </p:sp>
      <p:cxnSp>
        <p:nvCxnSpPr>
          <p:cNvPr id="16" name="Straight Connector 15"/>
          <p:cNvCxnSpPr/>
          <p:nvPr userDrawn="1"/>
        </p:nvCxnSpPr>
        <p:spPr>
          <a:xfrm>
            <a:off x="716827" y="488405"/>
            <a:ext cx="36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4024514"/>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0" name="Straight Connector 9"/>
          <p:cNvCxnSpPr/>
          <p:nvPr/>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p:cNvCxnSpPr/>
          <p:nvPr/>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22" name="Straight Connector 21"/>
          <p:cNvCxnSpPr/>
          <p:nvPr/>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r>
              <a:rPr lang="en-US" dirty="0"/>
              <a:t>Click icon to add picture</a:t>
            </a:r>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r>
              <a:rPr lang="en-US" dirty="0"/>
              <a:t>Click icon to add picture</a:t>
            </a:r>
            <a:endParaRPr lang="en-GB" dirty="0"/>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r>
              <a:rPr lang="en-US" dirty="0"/>
              <a:t>Click icon to add picture</a:t>
            </a:r>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r>
              <a:rPr lang="en-US" dirty="0"/>
              <a:t>Click icon to add picture</a:t>
            </a:r>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custDataLst>
      <p:tags r:id="rId1"/>
    </p:custDataLst>
    <p:extLst>
      <p:ext uri="{BB962C8B-B14F-4D97-AF65-F5344CB8AC3E}">
        <p14:creationId xmlns:p14="http://schemas.microsoft.com/office/powerpoint/2010/main" val="1389125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Whole Slide Text">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875" y="-75629"/>
            <a:ext cx="12192000" cy="408285"/>
          </a:xfrm>
          <a:prstGeom prst="rect">
            <a:avLst/>
          </a:prstGeom>
        </p:spPr>
      </p:pic>
      <p:sp>
        <p:nvSpPr>
          <p:cNvPr id="2" name="Title 1"/>
          <p:cNvSpPr>
            <a:spLocks noGrp="1"/>
          </p:cNvSpPr>
          <p:nvPr>
            <p:ph type="title" hasCustomPrompt="1"/>
          </p:nvPr>
        </p:nvSpPr>
        <p:spPr>
          <a:xfrm>
            <a:off x="480001" y="514975"/>
            <a:ext cx="11233633" cy="936000"/>
          </a:xfrm>
          <a:prstGeom prst="rect">
            <a:avLst/>
          </a:prstGeom>
        </p:spPr>
        <p:txBody>
          <a:bodyPr lIns="0" tIns="36000" rIns="0" bIns="36000" anchor="t"/>
          <a:lstStyle>
            <a:lvl1pPr>
              <a:defRPr sz="2800"/>
            </a:lvl1pPr>
          </a:lstStyle>
          <a:p>
            <a:r>
              <a:rPr lang="en-US" dirty="0"/>
              <a:t>Click to add title</a:t>
            </a:r>
            <a:endParaRPr lang="en-GB" dirty="0"/>
          </a:p>
        </p:txBody>
      </p:sp>
      <p:sp>
        <p:nvSpPr>
          <p:cNvPr id="9" name="TextBox 8"/>
          <p:cNvSpPr txBox="1"/>
          <p:nvPr userDrawn="1"/>
        </p:nvSpPr>
        <p:spPr>
          <a:xfrm>
            <a:off x="11448000" y="44625"/>
            <a:ext cx="341760" cy="246221"/>
          </a:xfrm>
          <a:prstGeom prst="rect">
            <a:avLst/>
          </a:prstGeom>
          <a:noFill/>
        </p:spPr>
        <p:txBody>
          <a:bodyPr wrap="none">
            <a:spAutoFit/>
          </a:bodyPr>
          <a:lstStyle/>
          <a:p>
            <a:pPr fontAlgn="auto">
              <a:spcBef>
                <a:spcPts val="0"/>
              </a:spcBef>
              <a:spcAft>
                <a:spcPts val="0"/>
              </a:spcAft>
              <a:defRPr/>
            </a:pPr>
            <a:fld id="{CC1F650A-73F3-45B0-B89C-37B7A7A179DA}" type="slidenum">
              <a:rPr lang="en-GB" sz="1000">
                <a:solidFill>
                  <a:prstClr val="black"/>
                </a:solidFill>
                <a:latin typeface="Century Gothic" panose="020B0502020202020204" pitchFamily="34" charset="0"/>
                <a:cs typeface="+mn-cs"/>
              </a:rPr>
              <a:pPr fontAlgn="auto">
                <a:spcBef>
                  <a:spcPts val="0"/>
                </a:spcBef>
                <a:spcAft>
                  <a:spcPts val="0"/>
                </a:spcAft>
                <a:defRPr/>
              </a:pPr>
              <a:t>‹#›</a:t>
            </a:fld>
            <a:endParaRPr lang="en-GB" sz="1000" dirty="0">
              <a:solidFill>
                <a:prstClr val="black"/>
              </a:solidFill>
              <a:latin typeface="Century Gothic" panose="020B0502020202020204" pitchFamily="34" charset="0"/>
              <a:cs typeface="+mn-cs"/>
            </a:endParaRPr>
          </a:p>
        </p:txBody>
      </p:sp>
      <p:sp>
        <p:nvSpPr>
          <p:cNvPr id="10" name="Text Placeholder 15"/>
          <p:cNvSpPr>
            <a:spLocks noGrp="1"/>
          </p:cNvSpPr>
          <p:nvPr>
            <p:ph type="body" sz="quarter" idx="12" hasCustomPrompt="1"/>
          </p:nvPr>
        </p:nvSpPr>
        <p:spPr>
          <a:xfrm>
            <a:off x="479998" y="0"/>
            <a:ext cx="3550135" cy="289424"/>
          </a:xfrm>
          <a:prstGeom prst="rect">
            <a:avLst/>
          </a:prstGeom>
        </p:spPr>
        <p:txBody>
          <a:bodyPr anchor="b"/>
          <a:lstStyle>
            <a:lvl1pPr marL="0" indent="0">
              <a:buNone/>
              <a:defRPr sz="1000"/>
            </a:lvl1pPr>
          </a:lstStyle>
          <a:p>
            <a:pPr lvl="0"/>
            <a:r>
              <a:rPr lang="en-US" dirty="0"/>
              <a:t>Click to add doc section/title</a:t>
            </a:r>
          </a:p>
        </p:txBody>
      </p:sp>
      <p:sp>
        <p:nvSpPr>
          <p:cNvPr id="11" name="Text Placeholder 5"/>
          <p:cNvSpPr>
            <a:spLocks noGrp="1"/>
          </p:cNvSpPr>
          <p:nvPr>
            <p:ph type="body" sz="quarter" idx="11"/>
          </p:nvPr>
        </p:nvSpPr>
        <p:spPr>
          <a:xfrm>
            <a:off x="480000" y="1952626"/>
            <a:ext cx="11233633" cy="4321175"/>
          </a:xfrm>
          <a:prstGeom prst="rect">
            <a:avLst/>
          </a:prstGeom>
        </p:spPr>
        <p:txBody>
          <a:bodyPr lIns="0" tIns="0" rIns="0"/>
          <a:lstStyle>
            <a:lvl1pPr>
              <a:defRPr sz="1600"/>
            </a:lvl1pPr>
            <a:lvl2pPr>
              <a:defRPr sz="1600"/>
            </a:lvl2pPr>
            <a:lvl3pPr>
              <a:defRPr sz="1600"/>
            </a:lvl3pPr>
          </a:lstStyle>
          <a:p>
            <a:pPr lvl="0"/>
            <a:r>
              <a:rPr lang="en-US"/>
              <a:t>Click to edit Master text styles</a:t>
            </a:r>
          </a:p>
          <a:p>
            <a:pPr lvl="1"/>
            <a:r>
              <a:rPr lang="en-US"/>
              <a:t>Second level</a:t>
            </a:r>
          </a:p>
          <a:p>
            <a:pPr lvl="2"/>
            <a:r>
              <a:rPr lang="en-US"/>
              <a:t>Third level</a:t>
            </a:r>
          </a:p>
        </p:txBody>
      </p:sp>
      <p:sp>
        <p:nvSpPr>
          <p:cNvPr id="13" name="Text Placeholder 3"/>
          <p:cNvSpPr>
            <a:spLocks noGrp="1"/>
          </p:cNvSpPr>
          <p:nvPr>
            <p:ph type="body" sz="quarter" idx="13" hasCustomPrompt="1"/>
          </p:nvPr>
        </p:nvSpPr>
        <p:spPr>
          <a:xfrm>
            <a:off x="479999" y="6489700"/>
            <a:ext cx="11233635" cy="368300"/>
          </a:xfrm>
          <a:prstGeom prst="rect">
            <a:avLst/>
          </a:prstGeom>
        </p:spPr>
        <p:txBody>
          <a:bodyPr/>
          <a:lstStyle>
            <a:lvl1pPr marL="0" indent="0">
              <a:spcBef>
                <a:spcPts val="0"/>
              </a:spcBef>
              <a:spcAft>
                <a:spcPts val="0"/>
              </a:spcAft>
              <a:buNone/>
              <a:defRPr sz="900" baseline="0"/>
            </a:lvl1pPr>
          </a:lstStyle>
          <a:p>
            <a:pPr lvl="0"/>
            <a:r>
              <a:rPr lang="en-US" dirty="0"/>
              <a:t>Click to add sources/notes</a:t>
            </a:r>
          </a:p>
        </p:txBody>
      </p:sp>
      <p:pic>
        <p:nvPicPr>
          <p:cNvPr id="14" name="Picture 9" descr="mtm_95black-03.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5712619" y="0"/>
            <a:ext cx="766763" cy="260350"/>
          </a:xfrm>
          <a:prstGeom prst="rect">
            <a:avLst/>
          </a:prstGeom>
          <a:noFill/>
          <a:ln w="9525">
            <a:noFill/>
            <a:miter lim="800000"/>
            <a:headEnd/>
            <a:tailEnd/>
          </a:ln>
        </p:spPr>
      </p:pic>
    </p:spTree>
    <p:extLst>
      <p:ext uri="{BB962C8B-B14F-4D97-AF65-F5344CB8AC3E}">
        <p14:creationId xmlns:p14="http://schemas.microsoft.com/office/powerpoint/2010/main" val="2907839099"/>
      </p:ext>
    </p:extLst>
  </p:cSld>
  <p:clrMapOvr>
    <a:masterClrMapping/>
  </p:clrMapOvr>
  <p:extLst>
    <p:ext uri="{DCECCB84-F9BA-43D5-87BE-67443E8EF086}">
      <p15:sldGuideLst xmlns:p15="http://schemas.microsoft.com/office/powerpoint/2012/main">
        <p15:guide id="1" orient="horz" pos="395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ED542-B4E0-E34A-9CDE-EA04AB8C0E09}"/>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FCE80A7-D4AD-9A4A-9BDB-B4E75DB20739}"/>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C38EC78-4DFB-D048-9427-075157FD7657}"/>
              </a:ext>
            </a:extLst>
          </p:cNvPr>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4A5CC1A-C602-3640-9DFE-C4D882C2B90F}" type="datetimeFigureOut">
              <a:rPr kumimoji="0" lang="en-US" sz="10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29/2023</a:t>
            </a:fld>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9573757E-EB6E-6E4C-A290-2C273B0AB6A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6" name="Slide Number Placeholder 5">
            <a:extLst>
              <a:ext uri="{FF2B5EF4-FFF2-40B4-BE49-F238E27FC236}">
                <a16:creationId xmlns:a16="http://schemas.microsoft.com/office/drawing/2014/main" id="{B7A704C3-B383-DD47-9B72-90217EB1D87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4F9E0DE-5175-D843-A3F3-4F94A162EC1D}" type="slidenum">
              <a:rPr kumimoji="0" lang="en-US" sz="10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04787558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E6EF22D-7DBE-4099-99F0-B83DD9779912}" type="datetimeFigureOut">
              <a:rPr kumimoji="0" lang="en-GB" sz="8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9/11/2023</a:t>
            </a:fld>
            <a:endParaRPr kumimoji="0" lang="en-GB" sz="800" b="0" i="0" u="none" strike="noStrike" kern="1200" cap="none" spc="0" normalizeH="0" baseline="0" noProof="0">
              <a:ln>
                <a:noFill/>
              </a:ln>
              <a:solidFill>
                <a:prstClr val="white"/>
              </a:solidFill>
              <a:effectLst/>
              <a:uLnTx/>
              <a:uFillTx/>
              <a:latin typeface="Arial"/>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623F64F-6692-49A2-80FF-3D660AAAEE7A}" type="slidenum">
              <a:rPr kumimoji="0" lang="en-GB" sz="8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prstClr val="white"/>
              </a:solidFill>
              <a:effectLst/>
              <a:uLnTx/>
              <a:uFillTx/>
              <a:latin typeface="Arial"/>
              <a:ea typeface="+mn-ea"/>
              <a:cs typeface="+mn-cs"/>
            </a:endParaRPr>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752600"/>
            <a:ext cx="6342907" cy="3573350"/>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79049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E6EF22D-7DBE-4099-99F0-B83DD9779912}" type="datetimeFigureOut">
              <a:rPr kumimoji="0" lang="en-GB" sz="8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9/11/2023</a:t>
            </a:fld>
            <a:endParaRPr kumimoji="0" lang="en-GB" sz="800" b="0" i="0" u="none" strike="noStrike" kern="1200" cap="none" spc="0" normalizeH="0" baseline="0" noProof="0">
              <a:ln>
                <a:noFill/>
              </a:ln>
              <a:solidFill>
                <a:prstClr val="white"/>
              </a:solidFill>
              <a:effectLst/>
              <a:uLnTx/>
              <a:uFillTx/>
              <a:latin typeface="Arial"/>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623F64F-6692-49A2-80FF-3D660AAAEE7A}" type="slidenum">
              <a:rPr kumimoji="0" lang="en-GB" sz="8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prstClr val="white"/>
              </a:solidFill>
              <a:effectLst/>
              <a:uLnTx/>
              <a:uFillTx/>
              <a:latin typeface="Arial"/>
              <a:ea typeface="+mn-ea"/>
              <a:cs typeface="+mn-cs"/>
            </a:endParaRPr>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204549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332501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29/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325069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29/11/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1322991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249336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1129603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378959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29/11/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556260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2" name="Straight Connector 11"/>
          <p:cNvCxnSpPr/>
          <p:nvPr userDrawn="1"/>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52933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26" Type="http://schemas.openxmlformats.org/officeDocument/2006/relationships/slideLayout" Target="../slideLayouts/slideLayout218.xml"/><Relationship Id="rId3" Type="http://schemas.openxmlformats.org/officeDocument/2006/relationships/slideLayout" Target="../slideLayouts/slideLayout195.xml"/><Relationship Id="rId21" Type="http://schemas.openxmlformats.org/officeDocument/2006/relationships/slideLayout" Target="../slideLayouts/slideLayout213.xml"/><Relationship Id="rId34" Type="http://schemas.openxmlformats.org/officeDocument/2006/relationships/image" Target="../media/image10.emf"/><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5" Type="http://schemas.openxmlformats.org/officeDocument/2006/relationships/slideLayout" Target="../slideLayouts/slideLayout217.xml"/><Relationship Id="rId33" Type="http://schemas.openxmlformats.org/officeDocument/2006/relationships/image" Target="../media/image9.png"/><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slideLayout" Target="../slideLayouts/slideLayout212.xml"/><Relationship Id="rId29" Type="http://schemas.openxmlformats.org/officeDocument/2006/relationships/slideLayout" Target="../slideLayouts/slideLayout221.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24" Type="http://schemas.openxmlformats.org/officeDocument/2006/relationships/slideLayout" Target="../slideLayouts/slideLayout216.xml"/><Relationship Id="rId32" Type="http://schemas.openxmlformats.org/officeDocument/2006/relationships/image" Target="../media/image2.jpeg"/><Relationship Id="rId5" Type="http://schemas.openxmlformats.org/officeDocument/2006/relationships/slideLayout" Target="../slideLayouts/slideLayout197.xml"/><Relationship Id="rId15" Type="http://schemas.openxmlformats.org/officeDocument/2006/relationships/slideLayout" Target="../slideLayouts/slideLayout207.xml"/><Relationship Id="rId23" Type="http://schemas.openxmlformats.org/officeDocument/2006/relationships/slideLayout" Target="../slideLayouts/slideLayout215.xml"/><Relationship Id="rId28" Type="http://schemas.openxmlformats.org/officeDocument/2006/relationships/slideLayout" Target="../slideLayouts/slideLayout220.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31" Type="http://schemas.openxmlformats.org/officeDocument/2006/relationships/tags" Target="../tags/tag191.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 Id="rId22" Type="http://schemas.openxmlformats.org/officeDocument/2006/relationships/slideLayout" Target="../slideLayouts/slideLayout214.xml"/><Relationship Id="rId27" Type="http://schemas.openxmlformats.org/officeDocument/2006/relationships/slideLayout" Target="../slideLayouts/slideLayout219.xml"/><Relationship Id="rId30" Type="http://schemas.openxmlformats.org/officeDocument/2006/relationships/theme" Target="../theme/theme10.xml"/><Relationship Id="rId8" Type="http://schemas.openxmlformats.org/officeDocument/2006/relationships/slideLayout" Target="../slideLayouts/slideLayout20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image" Target="../media/image2.jpeg"/><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tags" Target="../tags/tag32.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theme" Target="../theme/theme2.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8"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34" Type="http://schemas.openxmlformats.org/officeDocument/2006/relationships/tags" Target="../tags/tag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theme" Target="../theme/theme3.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image" Target="../media/image2.jpeg"/><Relationship Id="rId8"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image" Target="../media/image5.jpeg"/><Relationship Id="rId5" Type="http://schemas.openxmlformats.org/officeDocument/2006/relationships/tags" Target="../tags/tag92.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slideLayout" Target="../slideLayouts/slideLayout120.xml"/><Relationship Id="rId3" Type="http://schemas.openxmlformats.org/officeDocument/2006/relationships/slideLayout" Target="../slideLayouts/slideLayout97.xml"/><Relationship Id="rId21" Type="http://schemas.openxmlformats.org/officeDocument/2006/relationships/slideLayout" Target="../slideLayouts/slideLayout115.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slideLayout" Target="../slideLayouts/slideLayout114.xml"/><Relationship Id="rId29" Type="http://schemas.openxmlformats.org/officeDocument/2006/relationships/slideLayout" Target="../slideLayouts/slideLayout123.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32" Type="http://schemas.openxmlformats.org/officeDocument/2006/relationships/image" Target="../media/image1.jpeg"/><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31" Type="http://schemas.openxmlformats.org/officeDocument/2006/relationships/tags" Target="../tags/tag96.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heme" Target="../theme/theme6.xml"/><Relationship Id="rId1" Type="http://schemas.openxmlformats.org/officeDocument/2006/relationships/slideLayout" Target="../slideLayouts/slideLayout124.xml"/><Relationship Id="rId4" Type="http://schemas.openxmlformats.org/officeDocument/2006/relationships/image" Target="../media/image2.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theme" Target="../theme/theme7.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image" Target="../media/image2.jpeg"/><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tags" Target="../tags/tag128.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9" Type="http://schemas.openxmlformats.org/officeDocument/2006/relationships/theme" Target="../theme/theme8.xml"/><Relationship Id="rId21" Type="http://schemas.openxmlformats.org/officeDocument/2006/relationships/slideLayout" Target="../slideLayouts/slideLayout173.xml"/><Relationship Id="rId34" Type="http://schemas.openxmlformats.org/officeDocument/2006/relationships/slideLayout" Target="../slideLayouts/slideLayout186.xml"/><Relationship Id="rId7" Type="http://schemas.openxmlformats.org/officeDocument/2006/relationships/slideLayout" Target="../slideLayouts/slideLayout159.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slideLayout" Target="../slideLayouts/slideLayout181.xml"/><Relationship Id="rId41" Type="http://schemas.openxmlformats.org/officeDocument/2006/relationships/image" Target="../media/image2.jpeg"/><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32" Type="http://schemas.openxmlformats.org/officeDocument/2006/relationships/slideLayout" Target="../slideLayouts/slideLayout184.xml"/><Relationship Id="rId37" Type="http://schemas.openxmlformats.org/officeDocument/2006/relationships/slideLayout" Target="../slideLayouts/slideLayout189.xml"/><Relationship Id="rId40" Type="http://schemas.openxmlformats.org/officeDocument/2006/relationships/tags" Target="../tags/tag156.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36" Type="http://schemas.openxmlformats.org/officeDocument/2006/relationships/slideLayout" Target="../slideLayouts/slideLayout188.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slideLayout" Target="../slideLayouts/slideLayout183.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slideLayout" Target="../slideLayouts/slideLayout182.xml"/><Relationship Id="rId35" Type="http://schemas.openxmlformats.org/officeDocument/2006/relationships/slideLayout" Target="../slideLayouts/slideLayout187.xml"/><Relationship Id="rId8" Type="http://schemas.openxmlformats.org/officeDocument/2006/relationships/slideLayout" Target="../slideLayouts/slideLayout160.xml"/><Relationship Id="rId3" Type="http://schemas.openxmlformats.org/officeDocument/2006/relationships/slideLayout" Target="../slideLayouts/slideLayout155.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33" Type="http://schemas.openxmlformats.org/officeDocument/2006/relationships/slideLayout" Target="../slideLayouts/slideLayout185.xml"/><Relationship Id="rId38" Type="http://schemas.openxmlformats.org/officeDocument/2006/relationships/slideLayout" Target="../slideLayouts/slideLayout190.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5" Type="http://schemas.openxmlformats.org/officeDocument/2006/relationships/image" Target="../media/image2.jpeg"/><Relationship Id="rId4" Type="http://schemas.openxmlformats.org/officeDocument/2006/relationships/tags" Target="../tags/tag1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85BD38DE-0542-4FAE-989F-105676356085}" type="datetimeFigureOut">
              <a:rPr lang="en-GB" smtClean="0"/>
              <a:t>29/11/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79E5F90B-4EFD-4F87-8571-C292E52EB0A8}" type="slidenum">
              <a:rPr lang="en-GB" smtClean="0"/>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31"/>
    </p:custDataLst>
    <p:extLst>
      <p:ext uri="{BB962C8B-B14F-4D97-AF65-F5344CB8AC3E}">
        <p14:creationId xmlns:p14="http://schemas.microsoft.com/office/powerpoint/2010/main" val="227371555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2E6EF22D-7DBE-4099-99F0-B83DD9779912}" type="datetimeFigureOut">
              <a:rPr lang="en-GB" smtClean="0"/>
              <a:pPr/>
              <a:t>29/11/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a:extLst>
              <a:ext uri="{FF2B5EF4-FFF2-40B4-BE49-F238E27FC236}">
                <a16:creationId xmlns:a16="http://schemas.microsoft.com/office/drawing/2014/main" id="{AF4B688C-5322-4F54-B7DA-DB69D73C66E0}"/>
              </a:ext>
            </a:extLst>
          </p:cNvPr>
          <p:cNvPicPr>
            <a:picLocks noChangeAspect="1"/>
          </p:cNvPicPr>
          <p:nvPr userDrawn="1"/>
        </p:nvPicPr>
        <p:blipFill>
          <a:blip r:embed="rId33" cstate="print">
            <a:extLst>
              <a:ext uri="{28A0092B-C50C-407E-A947-70E740481C1C}">
                <a14:useLocalDpi xmlns:a14="http://schemas.microsoft.com/office/drawing/2010/main"/>
              </a:ext>
            </a:extLst>
          </a:blip>
          <a:stretch>
            <a:fillRect/>
          </a:stretch>
        </p:blipFill>
        <p:spPr>
          <a:xfrm>
            <a:off x="9466292" y="6219825"/>
            <a:ext cx="736223" cy="399492"/>
          </a:xfrm>
          <a:prstGeom prst="rect">
            <a:avLst/>
          </a:prstGeom>
        </p:spPr>
      </p:pic>
      <p:pic>
        <p:nvPicPr>
          <p:cNvPr id="9" name="Picture 8" descr="ebiquity-logo-vector white proxima RGB.emf">
            <a:extLst>
              <a:ext uri="{FF2B5EF4-FFF2-40B4-BE49-F238E27FC236}">
                <a16:creationId xmlns:a16="http://schemas.microsoft.com/office/drawing/2014/main" id="{8758125C-1FCC-4363-B4A7-9030387C4549}"/>
              </a:ext>
            </a:extLst>
          </p:cNvPr>
          <p:cNvPicPr>
            <a:picLocks noChangeAspect="1"/>
          </p:cNvPicPr>
          <p:nvPr userDrawn="1"/>
        </p:nvPicPr>
        <p:blipFill rotWithShape="1">
          <a:blip r:embed="rId34" cstate="screen">
            <a:lum bright="100000"/>
            <a:extLst>
              <a:ext uri="{28A0092B-C50C-407E-A947-70E740481C1C}">
                <a14:useLocalDpi xmlns:a14="http://schemas.microsoft.com/office/drawing/2010/main"/>
              </a:ext>
            </a:extLst>
          </a:blip>
          <a:srcRect b="21622"/>
          <a:stretch/>
        </p:blipFill>
        <p:spPr>
          <a:xfrm>
            <a:off x="7931695" y="6379146"/>
            <a:ext cx="1298030" cy="350813"/>
          </a:xfrm>
          <a:prstGeom prst="rect">
            <a:avLst/>
          </a:prstGeom>
        </p:spPr>
      </p:pic>
    </p:spTree>
    <p:custDataLst>
      <p:tags r:id="rId31"/>
    </p:custDataLst>
    <p:extLst>
      <p:ext uri="{BB962C8B-B14F-4D97-AF65-F5344CB8AC3E}">
        <p14:creationId xmlns:p14="http://schemas.microsoft.com/office/powerpoint/2010/main" val="56806457"/>
      </p:ext>
    </p:extLst>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122" r:id="rId25"/>
    <p:sldLayoutId id="2147484123" r:id="rId26"/>
    <p:sldLayoutId id="2147484124" r:id="rId27"/>
    <p:sldLayoutId id="2147484125" r:id="rId28"/>
    <p:sldLayoutId id="2147484126"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87D4F53B-E777-4D22-BF14-5A6FF8D3BEAE}" type="datetimeFigureOut">
              <a:rPr lang="en-GB" smtClean="0"/>
              <a:t>29/11/2023</a:t>
            </a:fld>
            <a:endParaRPr lang="en-GB"/>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9FBDBA1E-F2E9-4EAB-A2DA-23DB5AEB00CA}" type="slidenum">
              <a:rPr lang="en-GB" smtClean="0"/>
              <a:t>‹#›</a:t>
            </a:fld>
            <a:endParaRPr lang="en-GB"/>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32"/>
    </p:custDataLst>
    <p:extLst>
      <p:ext uri="{BB962C8B-B14F-4D97-AF65-F5344CB8AC3E}">
        <p14:creationId xmlns:p14="http://schemas.microsoft.com/office/powerpoint/2010/main" val="1057988872"/>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 id="214748372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2E6EF22D-7DBE-4099-99F0-B83DD9779912}" type="datetimeFigureOut">
              <a:rPr lang="en-GB" smtClean="0"/>
              <a:pPr/>
              <a:t>29/11/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34"/>
    </p:custDataLst>
    <p:extLst>
      <p:ext uri="{BB962C8B-B14F-4D97-AF65-F5344CB8AC3E}">
        <p14:creationId xmlns:p14="http://schemas.microsoft.com/office/powerpoint/2010/main" val="3255427933"/>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 id="2147483752" r:id="rId31"/>
    <p:sldLayoutId id="2147483753"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800" b="0">
                <a:solidFill>
                  <a:schemeClr val="bg1"/>
                </a:solidFill>
              </a:defRPr>
            </a:lvl1pPr>
          </a:lstStyle>
          <a:p>
            <a:fld id="{2E6EF22D-7DBE-4099-99F0-B83DD9779912}" type="datetimeFigureOut">
              <a:rPr lang="en-GB" smtClean="0"/>
              <a:pPr/>
              <a:t>29/11/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8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8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911237"/>
            <a:ext cx="11334817" cy="365211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5"/>
    </p:custDataLst>
    <p:extLst>
      <p:ext uri="{BB962C8B-B14F-4D97-AF65-F5344CB8AC3E}">
        <p14:creationId xmlns:p14="http://schemas.microsoft.com/office/powerpoint/2010/main" val="3669120764"/>
      </p:ext>
    </p:extLst>
  </p:cSld>
  <p:clrMap bg1="lt1" tx1="dk1" bg2="lt2" tx2="dk2" accent1="accent1" accent2="accent2" accent3="accent3" accent4="accent4" accent5="accent5" accent6="accent6" hlink="hlink" folHlink="folHlink"/>
  <p:sldLayoutIdLst>
    <p:sldLayoutId id="2147483755" r:id="rId1"/>
    <p:sldLayoutId id="2147483757" r:id="rId2"/>
    <p:sldLayoutId id="2147483758"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1" kern="1200" baseline="0">
          <a:solidFill>
            <a:schemeClr val="accent4"/>
          </a:solidFill>
          <a:latin typeface="+mn-lt"/>
          <a:ea typeface="+mn-ea"/>
          <a:cs typeface="+mn-cs"/>
        </a:defRPr>
      </a:lvl1pPr>
      <a:lvl2pPr marL="0" indent="0" algn="l" defTabSz="914400" rtl="0" eaLnBrk="1" latinLnBrk="0" hangingPunct="1">
        <a:lnSpc>
          <a:spcPct val="100000"/>
        </a:lnSpc>
        <a:spcBef>
          <a:spcPts val="0"/>
        </a:spcBef>
        <a:spcAft>
          <a:spcPts val="600"/>
        </a:spcAft>
        <a:buClr>
          <a:schemeClr val="tx2"/>
        </a:buClr>
        <a:buFont typeface="Arial" panose="020B0604020202020204" pitchFamily="34" charset="0"/>
        <a:buNone/>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accent4"/>
        </a:buClr>
        <a:buFont typeface="Arial" panose="020B0604020202020204" pitchFamily="34" charset="0"/>
        <a:buChar char="—"/>
        <a:tabLst>
          <a:tab pos="447675" algn="l"/>
        </a:tabLst>
        <a:defRPr sz="16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accent4"/>
        </a:buClr>
        <a:buFont typeface="Arial" panose="020B0604020202020204" pitchFamily="34" charset="0"/>
        <a:buChar char="—"/>
        <a:defRPr sz="16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accent4"/>
        </a:buClr>
        <a:buFont typeface="Arial" panose="020B0604020202020204" pitchFamily="34" charset="0"/>
        <a:buChar char="—"/>
        <a:defRPr sz="16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2E6EF22D-7DBE-4099-99F0-B83DD9779912}" type="datetimeFigureOut">
              <a:rPr lang="en-GB" smtClean="0"/>
              <a:pPr/>
              <a:t>29/11/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31"/>
    </p:custDataLst>
    <p:extLst>
      <p:ext uri="{BB962C8B-B14F-4D97-AF65-F5344CB8AC3E}">
        <p14:creationId xmlns:p14="http://schemas.microsoft.com/office/powerpoint/2010/main" val="3112953654"/>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800" b="0">
                <a:solidFill>
                  <a:schemeClr val="bg1"/>
                </a:solidFill>
              </a:defRPr>
            </a:lvl1pPr>
          </a:lstStyle>
          <a:p>
            <a:fld id="{2E6EF22D-7DBE-4099-99F0-B83DD9779912}" type="datetimeFigureOut">
              <a:rPr lang="en-GB" smtClean="0"/>
              <a:pPr/>
              <a:t>29/11/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8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8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911237"/>
            <a:ext cx="11334817" cy="335450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3"/>
    </p:custDataLst>
    <p:extLst>
      <p:ext uri="{BB962C8B-B14F-4D97-AF65-F5344CB8AC3E}">
        <p14:creationId xmlns:p14="http://schemas.microsoft.com/office/powerpoint/2010/main" val="3733105461"/>
      </p:ext>
    </p:extLst>
  </p:cSld>
  <p:clrMap bg1="lt1" tx1="dk1" bg2="lt2" tx2="dk2" accent1="accent1" accent2="accent2" accent3="accent3" accent4="accent4" accent5="accent5" accent6="accent6" hlink="hlink" folHlink="folHlink"/>
  <p:sldLayoutIdLst>
    <p:sldLayoutId id="2147484024"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800" b="0">
                <a:solidFill>
                  <a:schemeClr val="bg1"/>
                </a:solidFill>
              </a:defRPr>
            </a:lvl1pPr>
          </a:lstStyle>
          <a:p>
            <a:fld id="{2E6EF22D-7DBE-4099-99F0-B83DD9779912}" type="datetimeFigureOut">
              <a:rPr lang="en-GB" smtClean="0"/>
              <a:pPr/>
              <a:t>29/11/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8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8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911237"/>
            <a:ext cx="11334817" cy="335450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30"/>
    </p:custDataLst>
    <p:extLst>
      <p:ext uri="{BB962C8B-B14F-4D97-AF65-F5344CB8AC3E}">
        <p14:creationId xmlns:p14="http://schemas.microsoft.com/office/powerpoint/2010/main" val="4138987225"/>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 id="2147484037" r:id="rId12"/>
    <p:sldLayoutId id="2147484038" r:id="rId13"/>
    <p:sldLayoutId id="2147484039" r:id="rId14"/>
    <p:sldLayoutId id="2147484040" r:id="rId15"/>
    <p:sldLayoutId id="2147484041" r:id="rId16"/>
    <p:sldLayoutId id="2147484042" r:id="rId17"/>
    <p:sldLayoutId id="2147484043" r:id="rId18"/>
    <p:sldLayoutId id="2147484044" r:id="rId19"/>
    <p:sldLayoutId id="2147484045" r:id="rId20"/>
    <p:sldLayoutId id="2147484046" r:id="rId21"/>
    <p:sldLayoutId id="2147484047" r:id="rId22"/>
    <p:sldLayoutId id="2147484048" r:id="rId23"/>
    <p:sldLayoutId id="2147484049" r:id="rId24"/>
    <p:sldLayoutId id="2147484050" r:id="rId25"/>
    <p:sldLayoutId id="2147484051" r:id="rId26"/>
    <p:sldLayoutId id="2147484052" r:id="rId27"/>
    <p:sldLayoutId id="2147484053"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41"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2E6EF22D-7DBE-4099-99F0-B83DD9779912}" type="datetimeFigureOut">
              <a:rPr lang="en-GB" smtClean="0"/>
              <a:pPr/>
              <a:t>29/11/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ustDataLst>
      <p:tags r:id="rId40"/>
    </p:custDataLst>
    <p:extLst>
      <p:ext uri="{BB962C8B-B14F-4D97-AF65-F5344CB8AC3E}">
        <p14:creationId xmlns:p14="http://schemas.microsoft.com/office/powerpoint/2010/main" val="785596634"/>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 id="2147484074" r:id="rId20"/>
    <p:sldLayoutId id="2147484075" r:id="rId21"/>
    <p:sldLayoutId id="2147484076" r:id="rId22"/>
    <p:sldLayoutId id="2147484077" r:id="rId23"/>
    <p:sldLayoutId id="2147484078" r:id="rId24"/>
    <p:sldLayoutId id="2147484079" r:id="rId25"/>
    <p:sldLayoutId id="2147484080" r:id="rId26"/>
    <p:sldLayoutId id="2147484081" r:id="rId27"/>
    <p:sldLayoutId id="2147484082" r:id="rId28"/>
    <p:sldLayoutId id="2147484083" r:id="rId29"/>
    <p:sldLayoutId id="2147484084" r:id="rId30"/>
    <p:sldLayoutId id="2147484085" r:id="rId31"/>
    <p:sldLayoutId id="2147484086" r:id="rId32"/>
    <p:sldLayoutId id="2147484087" r:id="rId33"/>
    <p:sldLayoutId id="2147484088" r:id="rId34"/>
    <p:sldLayoutId id="2147484089" r:id="rId35"/>
    <p:sldLayoutId id="2147484090" r:id="rId36"/>
    <p:sldLayoutId id="2147484091" r:id="rId37"/>
    <p:sldLayoutId id="2147484092"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2E6EF22D-7DBE-4099-99F0-B83DD9779912}" type="datetimeFigureOut">
              <a:rPr lang="en-GB" smtClean="0"/>
              <a:pPr/>
              <a:t>29/11/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4"/>
    </p:custDataLst>
    <p:extLst>
      <p:ext uri="{BB962C8B-B14F-4D97-AF65-F5344CB8AC3E}">
        <p14:creationId xmlns:p14="http://schemas.microsoft.com/office/powerpoint/2010/main" val="3558161913"/>
      </p:ext>
    </p:extLst>
  </p:cSld>
  <p:clrMap bg1="lt1" tx1="dk1" bg2="lt2" tx2="dk2" accent1="accent1" accent2="accent2" accent3="accent3" accent4="accent4" accent5="accent5" accent6="accent6" hlink="hlink" folHlink="folHlink"/>
  <p:sldLayoutIdLst>
    <p:sldLayoutId id="2147484094" r:id="rId1"/>
    <p:sldLayoutId id="2147484096"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73721-1EC9-3904-DEC6-BFF12B7E98E9}"/>
              </a:ext>
            </a:extLst>
          </p:cNvPr>
          <p:cNvSpPr>
            <a:spLocks noGrp="1"/>
          </p:cNvSpPr>
          <p:nvPr>
            <p:ph type="title"/>
          </p:nvPr>
        </p:nvSpPr>
        <p:spPr/>
        <p:txBody>
          <a:bodyPr/>
          <a:lstStyle/>
          <a:p>
            <a:r>
              <a:rPr lang="en-US" dirty="0"/>
              <a:t>Commercial broadcasters are unrivalled for scale </a:t>
            </a:r>
            <a:endParaRPr lang="en-GB" dirty="0"/>
          </a:p>
        </p:txBody>
      </p:sp>
      <p:sp>
        <p:nvSpPr>
          <p:cNvPr id="3" name="Text Placeholder 2">
            <a:extLst>
              <a:ext uri="{FF2B5EF4-FFF2-40B4-BE49-F238E27FC236}">
                <a16:creationId xmlns:a16="http://schemas.microsoft.com/office/drawing/2014/main" id="{B9FD3D59-A2D0-92A6-2693-EF52DA101C12}"/>
              </a:ext>
            </a:extLst>
          </p:cNvPr>
          <p:cNvSpPr>
            <a:spLocks noGrp="1"/>
          </p:cNvSpPr>
          <p:nvPr>
            <p:ph type="body" sz="quarter" idx="15"/>
          </p:nvPr>
        </p:nvSpPr>
        <p:spPr>
          <a:xfrm>
            <a:off x="360000" y="5400000"/>
            <a:ext cx="11334817" cy="304800"/>
          </a:xfrm>
        </p:spPr>
        <p:txBody>
          <a:bodyPr/>
          <a:lstStyle/>
          <a:p>
            <a:r>
              <a:rPr lang="en-GB" dirty="0"/>
              <a:t>Source: Barb / All Individuals, all devices – 2022</a:t>
            </a:r>
          </a:p>
        </p:txBody>
      </p:sp>
      <p:graphicFrame>
        <p:nvGraphicFramePr>
          <p:cNvPr id="4" name="Chart 3">
            <a:extLst>
              <a:ext uri="{FF2B5EF4-FFF2-40B4-BE49-F238E27FC236}">
                <a16:creationId xmlns:a16="http://schemas.microsoft.com/office/drawing/2014/main" id="{4D76ED79-41E5-2FA1-CFA4-8D2AC45BBB8D}"/>
              </a:ext>
            </a:extLst>
          </p:cNvPr>
          <p:cNvGraphicFramePr>
            <a:graphicFrameLocks noGrp="1"/>
          </p:cNvGraphicFramePr>
          <p:nvPr/>
        </p:nvGraphicFramePr>
        <p:xfrm>
          <a:off x="268357" y="1373915"/>
          <a:ext cx="11336400" cy="414360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1">
            <a:extLst>
              <a:ext uri="{FF2B5EF4-FFF2-40B4-BE49-F238E27FC236}">
                <a16:creationId xmlns:a16="http://schemas.microsoft.com/office/drawing/2014/main" id="{9B8228A8-5EFD-0FD6-AEEA-B1B83FC6734E}"/>
              </a:ext>
            </a:extLst>
          </p:cNvPr>
          <p:cNvSpPr txBox="1"/>
          <p:nvPr/>
        </p:nvSpPr>
        <p:spPr>
          <a:xfrm>
            <a:off x="1917048" y="2730801"/>
            <a:ext cx="1815951" cy="26867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b="1"/>
              <a:t>Bubble</a:t>
            </a:r>
            <a:r>
              <a:rPr lang="en-GB" sz="1100" b="1" baseline="0"/>
              <a:t> area represents total volume of daily viewing </a:t>
            </a:r>
            <a:endParaRPr lang="en-GB" sz="1100" b="1"/>
          </a:p>
        </p:txBody>
      </p:sp>
      <p:sp>
        <p:nvSpPr>
          <p:cNvPr id="6" name="TextBox 2">
            <a:extLst>
              <a:ext uri="{FF2B5EF4-FFF2-40B4-BE49-F238E27FC236}">
                <a16:creationId xmlns:a16="http://schemas.microsoft.com/office/drawing/2014/main" id="{87B8EC82-F237-9AE2-8190-BCAEE07D9E4B}"/>
              </a:ext>
            </a:extLst>
          </p:cNvPr>
          <p:cNvSpPr txBox="1"/>
          <p:nvPr/>
        </p:nvSpPr>
        <p:spPr>
          <a:xfrm>
            <a:off x="1872704" y="1548150"/>
            <a:ext cx="2919622" cy="33854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GB" sz="1600" b="1">
                <a:solidFill>
                  <a:schemeClr val="bg2"/>
                </a:solidFill>
              </a:rPr>
              <a:t>All Individuals – All devices</a:t>
            </a:r>
          </a:p>
        </p:txBody>
      </p:sp>
    </p:spTree>
    <p:extLst>
      <p:ext uri="{BB962C8B-B14F-4D97-AF65-F5344CB8AC3E}">
        <p14:creationId xmlns:p14="http://schemas.microsoft.com/office/powerpoint/2010/main" val="2926594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C2D11C-78F3-6385-3332-C1771118D060}"/>
              </a:ext>
            </a:extLst>
          </p:cNvPr>
          <p:cNvSpPr>
            <a:spLocks noGrp="1"/>
          </p:cNvSpPr>
          <p:nvPr>
            <p:ph type="title"/>
          </p:nvPr>
        </p:nvSpPr>
        <p:spPr/>
        <p:txBody>
          <a:bodyPr/>
          <a:lstStyle/>
          <a:p>
            <a:r>
              <a:rPr lang="en-US" dirty="0"/>
              <a:t>Commercial broadcasters remain important to 16-34s</a:t>
            </a:r>
            <a:endParaRPr lang="en-GB" dirty="0"/>
          </a:p>
        </p:txBody>
      </p:sp>
      <p:sp>
        <p:nvSpPr>
          <p:cNvPr id="3" name="Text Placeholder 2">
            <a:extLst>
              <a:ext uri="{FF2B5EF4-FFF2-40B4-BE49-F238E27FC236}">
                <a16:creationId xmlns:a16="http://schemas.microsoft.com/office/drawing/2014/main" id="{0B595640-9920-E075-1D66-C90E3F1D3BC8}"/>
              </a:ext>
            </a:extLst>
          </p:cNvPr>
          <p:cNvSpPr>
            <a:spLocks noGrp="1"/>
          </p:cNvSpPr>
          <p:nvPr>
            <p:ph type="body" sz="quarter" idx="15"/>
          </p:nvPr>
        </p:nvSpPr>
        <p:spPr>
          <a:xfrm>
            <a:off x="360000" y="5400000"/>
            <a:ext cx="11334817" cy="304800"/>
          </a:xfrm>
        </p:spPr>
        <p:txBody>
          <a:bodyPr/>
          <a:lstStyle/>
          <a:p>
            <a:r>
              <a:rPr lang="en-GB"/>
              <a:t>Source: Barb / 16-34s, all devices – 2022</a:t>
            </a:r>
          </a:p>
          <a:p>
            <a:endParaRPr lang="en-GB"/>
          </a:p>
        </p:txBody>
      </p:sp>
      <p:graphicFrame>
        <p:nvGraphicFramePr>
          <p:cNvPr id="4" name="Chart 3">
            <a:extLst>
              <a:ext uri="{FF2B5EF4-FFF2-40B4-BE49-F238E27FC236}">
                <a16:creationId xmlns:a16="http://schemas.microsoft.com/office/drawing/2014/main" id="{45B9B27D-A021-7460-78AD-03E464B153B1}"/>
              </a:ext>
            </a:extLst>
          </p:cNvPr>
          <p:cNvGraphicFramePr>
            <a:graphicFrameLocks noGrp="1"/>
          </p:cNvGraphicFramePr>
          <p:nvPr/>
        </p:nvGraphicFramePr>
        <p:xfrm>
          <a:off x="277744" y="1188085"/>
          <a:ext cx="11336400" cy="414360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1">
            <a:extLst>
              <a:ext uri="{FF2B5EF4-FFF2-40B4-BE49-F238E27FC236}">
                <a16:creationId xmlns:a16="http://schemas.microsoft.com/office/drawing/2014/main" id="{F53ACB6A-6C2C-6E3A-8378-1578C1AEABB7}"/>
              </a:ext>
            </a:extLst>
          </p:cNvPr>
          <p:cNvSpPr txBox="1"/>
          <p:nvPr/>
        </p:nvSpPr>
        <p:spPr>
          <a:xfrm>
            <a:off x="1878261" y="1526315"/>
            <a:ext cx="2650903" cy="33855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GB" sz="1600" b="1">
                <a:solidFill>
                  <a:schemeClr val="bg2"/>
                </a:solidFill>
              </a:rPr>
              <a:t>16-34s – All devices</a:t>
            </a:r>
          </a:p>
        </p:txBody>
      </p:sp>
    </p:spTree>
    <p:extLst>
      <p:ext uri="{BB962C8B-B14F-4D97-AF65-F5344CB8AC3E}">
        <p14:creationId xmlns:p14="http://schemas.microsoft.com/office/powerpoint/2010/main" val="27575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51E2B5-5CA8-D762-FE7C-27063D4212AB}"/>
              </a:ext>
            </a:extLst>
          </p:cNvPr>
          <p:cNvSpPr>
            <a:spLocks noGrp="1"/>
          </p:cNvSpPr>
          <p:nvPr>
            <p:ph type="title"/>
          </p:nvPr>
        </p:nvSpPr>
        <p:spPr/>
        <p:txBody>
          <a:bodyPr>
            <a:normAutofit/>
          </a:bodyPr>
          <a:lstStyle/>
          <a:p>
            <a:r>
              <a:rPr lang="en-US" dirty="0"/>
              <a:t>Commercial broadcasters deliver the most scale for 16-34s </a:t>
            </a:r>
            <a:r>
              <a:rPr lang="en-US"/>
              <a:t>on the TV set</a:t>
            </a:r>
            <a:endParaRPr lang="en-GB" dirty="0"/>
          </a:p>
        </p:txBody>
      </p:sp>
      <p:sp>
        <p:nvSpPr>
          <p:cNvPr id="3" name="Text Placeholder 2">
            <a:extLst>
              <a:ext uri="{FF2B5EF4-FFF2-40B4-BE49-F238E27FC236}">
                <a16:creationId xmlns:a16="http://schemas.microsoft.com/office/drawing/2014/main" id="{2360428C-4D24-957F-7045-3F9FB82201D2}"/>
              </a:ext>
            </a:extLst>
          </p:cNvPr>
          <p:cNvSpPr>
            <a:spLocks noGrp="1"/>
          </p:cNvSpPr>
          <p:nvPr>
            <p:ph type="body" sz="quarter" idx="15"/>
          </p:nvPr>
        </p:nvSpPr>
        <p:spPr>
          <a:xfrm>
            <a:off x="360000" y="5400000"/>
            <a:ext cx="11334817" cy="304800"/>
          </a:xfrm>
        </p:spPr>
        <p:txBody>
          <a:bodyPr/>
          <a:lstStyle/>
          <a:p>
            <a:r>
              <a:rPr lang="en-GB"/>
              <a:t>Source: Barb / 16-34s, TV sets – 2022</a:t>
            </a:r>
          </a:p>
          <a:p>
            <a:endParaRPr lang="en-GB"/>
          </a:p>
        </p:txBody>
      </p:sp>
      <p:graphicFrame>
        <p:nvGraphicFramePr>
          <p:cNvPr id="4" name="Chart 3">
            <a:extLst>
              <a:ext uri="{FF2B5EF4-FFF2-40B4-BE49-F238E27FC236}">
                <a16:creationId xmlns:a16="http://schemas.microsoft.com/office/drawing/2014/main" id="{67073D91-72DA-0679-299D-7523044B6DE4}"/>
              </a:ext>
            </a:extLst>
          </p:cNvPr>
          <p:cNvGraphicFramePr>
            <a:graphicFrameLocks noGrp="1"/>
          </p:cNvGraphicFramePr>
          <p:nvPr/>
        </p:nvGraphicFramePr>
        <p:xfrm>
          <a:off x="232991" y="1301320"/>
          <a:ext cx="11336400" cy="414360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1">
            <a:extLst>
              <a:ext uri="{FF2B5EF4-FFF2-40B4-BE49-F238E27FC236}">
                <a16:creationId xmlns:a16="http://schemas.microsoft.com/office/drawing/2014/main" id="{BF5E4629-431A-8133-077B-018B4EBE0F0B}"/>
              </a:ext>
            </a:extLst>
          </p:cNvPr>
          <p:cNvSpPr txBox="1"/>
          <p:nvPr/>
        </p:nvSpPr>
        <p:spPr>
          <a:xfrm>
            <a:off x="1872440" y="2605475"/>
            <a:ext cx="1842845" cy="36157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b="1"/>
              <a:t>Bubble</a:t>
            </a:r>
            <a:r>
              <a:rPr lang="en-GB" sz="1100" b="1" baseline="0"/>
              <a:t> area represents total volume of daily viewing </a:t>
            </a:r>
            <a:endParaRPr lang="en-GB" sz="1100" b="1"/>
          </a:p>
        </p:txBody>
      </p:sp>
      <p:sp>
        <p:nvSpPr>
          <p:cNvPr id="6" name="TextBox 1">
            <a:extLst>
              <a:ext uri="{FF2B5EF4-FFF2-40B4-BE49-F238E27FC236}">
                <a16:creationId xmlns:a16="http://schemas.microsoft.com/office/drawing/2014/main" id="{A3E53F8B-1403-4C75-93AC-4555556A9BB0}"/>
              </a:ext>
            </a:extLst>
          </p:cNvPr>
          <p:cNvSpPr txBox="1"/>
          <p:nvPr/>
        </p:nvSpPr>
        <p:spPr>
          <a:xfrm>
            <a:off x="1858383" y="1744103"/>
            <a:ext cx="2650903" cy="33855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GB" sz="1600" b="1">
                <a:solidFill>
                  <a:schemeClr val="bg2"/>
                </a:solidFill>
              </a:rPr>
              <a:t>16-34s - TV set viewing</a:t>
            </a:r>
          </a:p>
        </p:txBody>
      </p:sp>
      <p:sp>
        <p:nvSpPr>
          <p:cNvPr id="7" name="TextBox 1">
            <a:extLst>
              <a:ext uri="{FF2B5EF4-FFF2-40B4-BE49-F238E27FC236}">
                <a16:creationId xmlns:a16="http://schemas.microsoft.com/office/drawing/2014/main" id="{D086B3BF-1A40-7526-CB7B-A6C308D134F5}"/>
              </a:ext>
            </a:extLst>
          </p:cNvPr>
          <p:cNvSpPr txBox="1"/>
          <p:nvPr/>
        </p:nvSpPr>
        <p:spPr>
          <a:xfrm>
            <a:off x="2740044" y="4474813"/>
            <a:ext cx="889114" cy="26456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b="1"/>
              <a:t>TikTok</a:t>
            </a:r>
          </a:p>
        </p:txBody>
      </p:sp>
      <p:cxnSp>
        <p:nvCxnSpPr>
          <p:cNvPr id="8" name="Straight Arrow Connector 7">
            <a:extLst>
              <a:ext uri="{FF2B5EF4-FFF2-40B4-BE49-F238E27FC236}">
                <a16:creationId xmlns:a16="http://schemas.microsoft.com/office/drawing/2014/main" id="{C604651C-2C4F-8EED-C1EB-E9A617655D5C}"/>
              </a:ext>
            </a:extLst>
          </p:cNvPr>
          <p:cNvCxnSpPr>
            <a:cxnSpLocks/>
          </p:cNvCxnSpPr>
          <p:nvPr/>
        </p:nvCxnSpPr>
        <p:spPr>
          <a:xfrm flipH="1">
            <a:off x="2653683" y="4739382"/>
            <a:ext cx="172723" cy="14431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53196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PRING_SCORM_RATE_SLIDES" val="0"/>
  <p:tag name="ISPRING_SCORM_RATE_QUIZZES" val="0"/>
  <p:tag name="ISPRING_SCORM_PASSING_SCORE" val="0.000000"/>
  <p:tag name="ISPRING_ULTRA_SCORM_COURSE_ID" val="F424C83B-6EEE-418D-B748-A63FBA0AFDA2"/>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CLOUDFOLDERID" val="645"/>
  <p:tag name="ISPRINGCLOUDFOLDERPATH" val="Repository/Nickable Charts/Trends in TV/"/>
  <p:tag name="ISPRINGCLOUDFOLDERDOMAIN" val="https://thinkbox.ispringcloud.eu"/>
  <p:tag name="ISPRING_PLAYERS_CUSTOMIZATION" val="UEsDBBQAAgAIACJV40qpAcR2+wIAALAIAAAUAAAAdW5pdmVyc2FsL3BsYXllci54bWytVU1v2zAMPadA/4Ohe6WkH2sb2C26AsUO61Ag67ZboNqKrcW2PEmum/76UZK/53QrsEMCm+J7pMhH2r9+yVLvmUnFRR6gBZ4jj+WhiHgeB+jx693RBbq+Ojzwi5TumPR4FKAy5wZAU+RFTIWSFxrAD1QnAeoZMDAjr5BcSK53wH0G3G2k41N0eDADl1wFKNG6WBJSVRXmChB5rERaGhKFQ5GRQjLFcs0kcWkgr8Eu9d/R8MtETvSuYKqHLPT7A9ckLceL4gOS6gQLGZPj+XxBftx/XoUJy+gRz5WmeciQB5Wc2VI+0XB7L6IyZcrYZr5LcsW0NklY28zXS764yD0lwwA5h3XGlKIxUzjNY0QclkyA/U1KVVLzqAGt4VVbXvNav7V5XzdutnOkcy7Kp5SrBI76kM46CfTJMKqf2etaBT02CrozTMiT7FfJJYvs67dWjPMFcgFbxdk8sapCOICnOxpqIXe3AAMV1R3EbdOwaxq2oJYDt9FXHQVqbrthVJeSNaWa+c88YuILlZIaWVxpWTKfjIw1lgzBPnFXrpvUNcRPdJae/UNvjN+oNT/VW52xgP/RmE9A1NaE5xF7uePgo1kGNdUMim1sWBcpNjG7nFT5lPV0PTC5HOumwEU8TWXMYAwjqinp7GQflEmqwCUs5QjbO9gLTnicpPDTkwzj0700GZXbSYbewV5wKsLtBLQ1t2Uk4zqOxNQqyCcT68QPS6VFxl+tPAd7Ri+tDt8auebopuDtwfn8j1EcxGgGc4MmVpd56u2r5vDBzKlWnc+6cJaBWmEemC4L59XMQlmMfCK2oWWqb/s5NfuwBx3lPDUd01zfQe+iWvFX5lU8Ml+6xYmpScKMZgL04eKkxwD9hO0yCG9N+yJuRN7UAWNi39y/rWiz5evWua7v67APNXzmrHIYN1MfQR2xFGUejXqIi+4jolLYaTeSUS9lG7jR4hhEKooAncJDfefLs8vuyueLywZr83pwgV0u71jpdcKdgkit6/Yifr0b4PE3UEsDBBQAAgAIAOtiAlMxtD4H3QQAAGoSAAAdAAAAdW5pdmVyc2FsL2NvbW1vbl9tZXNzYWdlcy5sbmetWG1v2zYQ/l6g/4EQUGADurQd0KIYEgeyxDhCZMqV6DjZMAiMxNhEKNHTi1Pv037Nfth+yY6U7dhNCklJAduQaN1zx3t57qjj06+ZRCtelELlJ9aHo/cW4nmiUpHPT6wpPfvls4XKiuUpkyrnJ1auLHQ6eP3qWLJ8XrM5h+vXrxA6znhZwm050HcP90ikJ9ZkGDvBeGKT69gPRkE89EbWwFHZkuVr5Ku5+unXT5+/fvj46efjdxu5LjDR2Pb9QyBkkD6+7wBEaBj4MaBhPyb4iloD/dtPLphS3yPYGmwu+klPQnxpDfRvq9w0DDGhceR7Lo69KCYBNb7wMcWuNbhWNVqwFUeVQivB71G14BDHShQclVKk5o9EwUJe8zZlbjC2PRKHOKKh51AvINYgUkWxfmtgWV0tVAHqSpSKkt1InhqdkDHm/2XBS1DNKsgoBJ9qIeBJlTGRH7WrnhE/sN3YnkziMY4iewTOpbtNAdIB/L2oFvBfytVbUHGfS8VSdFtwAAwixJZLKZLmSREtC23hRLJ1qxWhPfPIKKZB4EcxJu52xRrgPEVuwfRme6KEdoRDAChYyYtnyMYm1404sqXsh3Dujc59+FJtwrmYLyR8q752TDBkwoTnbVKQqTiEHI+iWRC62mmgCjG0ZGV5r4r0IEv349kG7BEngEJw6B441RhbYMgPAexVFDyp2sB8e0qc83hICVwOMTjXZ3WeLDrKQYU8maT7KVlDrPYTrzX/N2jxMLiCEgdGCvpIBBdARBd9JK5xBOSBozYZYl96I1tTgSafLTNsmSdhutDlGrEkATkd0pVQdQkr2iXAD4aDyn5aIvxlCpnk2f4T/NYAQrBNDs3FioMJRdqe0cC2DnZ1Tn+Zer/HZ7bnYzeGJAfqialpA1oZA+LMVYWYlEpvAPSydMXyhKMbnjAd2DU8lorUPKYT0FjyVy3+RqzakO6bDV8TF1+9Oepp2gHFP7Ywq0swr6p4tqzaVO+Z/xwrdLF914QuW3+e/sjBxA694LtByti6CVKXyJQiq2XTC14cn51lfWPUasQLPdU9Wj/akqgh/aEHrDUUqrsEhmFDNzaYD2R3KY+cgaJJ0zuguXj5bQ+dJNgAEIWei3EJrjow4VJzfnf5GR5GHoXGMeM3pahapzJTjU2Ang5tAmOw5BV/KMYbfquAxyRnq2Y4g/ZoIt0a0L3Z76BfUI/6YDIBwPlmriqRFBnYn3bAnI7x1gMNzR/sZKZqmZrileLOUD34ts7446nytlCZWZWs3CZv02lOX2JFs7mwUTrpMZfs6q9zfPbK7/lRirAdwiTi2MTR44uja1V2FIIS0K7wabSdfqAWMlYlC2irt6rO045AzVHGxWc2gG32HHFWJIv//vm3I8Y3ljSraLP6Wy8QPZcBC+Id2B9EVbz8sw2E2sNDOXPTRWpz9NvKdTwJUg+y8IccsVjTWjKVwdJRu15I8k3QbEpt53wMdRCZtFd1kbRPafsIYzu8AC4zxwNrMGbFHRAhVUr2QjGutgaXerAz0eoj/HAEX/FCO6mP8Msait429Sax7brmhQSUIJw375rOmcKBJ9m8mZBq3hnMObcJsO03eDwVVV/AEOPdCwd9qDYHWB9OyJBGHWrTNLgtlwFdNPcPZLF63O92d6V5K3T8bu8l0f9QSwMEFAACAAgA62ICU0dLVwP8AwAAFxEAACcAAAB1bml2ZXJzYWwvZmxhc2hfcHVibGlzaGluZ19zZXR0aW5ncy54bWzVWO9y2kYQ/85T3KiTj0F2atcOA3g8thgzwUCR3CbT6XgO3YKuPt2puhOEfOrT9MH6JN3TYQwBJyIpnWQYD+i0+9u/v13JzYv3qSAzyDVXsuUd1488AjJWjMtpy7uLOi/PPaINlYwKJaHlSeWRi3atmRVjwXUSgjEoqgnCSN3ITMtLjMkavj+fz+tcZ7m9q0RhEF/XY5X6WQ4apIHczwRd4JdZZKC9JUIFAPxLlVyqtWs1QpoO6VaxQgDhDD2X3AZFRUdQnXi+ExvT+GGaq0KyKyVUTvLpuOX9cH5pP48yDuqapyBtTnQbD+2xaVDGuPWCipB/AJIAnybo7tmJR+acmaTlvTqxKCjtb6OU2C50alGuFOZAmiV8CoYyaqi7dPYMvDf68cAdsYWkKY8jvENs/C3vOroPe93r4L4/iILw/ia67Tkf9lCKgrfRHkpRN+oF+8hXhb95NwxGvW7/zX00GPSi7vBJCzO6kZCmv5mxJmZWFXkMq4Q1TVKkY0m5wB79KI0aDHa5oPkUItXhWMQJFRo88kcG058LKrhZIBmOkAwPANmlziA2I1u2lmfyArwnOAeIjmEtVy1x+nrVEmfnG6H7zvpTWDu9bFJjaJxg8+BZ6VrTXz96FJsouRGavSZjJdgqIEjHwPo0hTVKhA9cdlDy2CMTLILAUAcZSBJSiTTkBsOPVwC6GGvDTUm/zlL6MudUEMTDOQHkNtxKR5zQXG9kfZV52/xx+7e+MqB/d+lwR8+J/qoKwchCFUTwByBGESx1keKvBMg6ocgkV2l5ipQ3RAuOzs04zIFdVDH0Dk2kBWrifMkEGGfhz4J/IGOYqBxxgc5wGuE51w6/vhdwRrV+AqWPPr5wNOn2r4O3L2yAlM2ojPcEx/6ANDOHwKcYu1RoQgiF2VyDwMzEtNBQ1odxVopVCbP+5RXRPC2Eq/h/XZc16ANW5zBW6MLVqEphPutBZbMJnZWctDwroZGNHEviMPFGjIOGywKqAsZUEiXFgtAYh7m2DJ9xVWg8cVx20PqLHHSqhMvS1SnOQzSWM8iroB0dv/rx5PSns/PXjbr/z19/v/yk0nLBDQW11tyGu3p2g1bT+miPfkbpE9t0S7ej8tS2KNsyuvsJYbnJtud807c7aPdKKjfnt7qRwuBydHVDRkF414vCRpWG6CtknYkT7KiJfaasojO4i7AkQRXR4Sj4pZIbWJtKbAjCSnCDSnG8qSI1cpt6uLalK7mA43zqxhMOdMFTjp35XVD0ObZ8Pbv/F4Z+9UOjo/iBGAo0jxOs6sE64buYgodM8beUNXe1et3beL9r+jvfpO2dlEueYi7tpl+9frdPT47wjXHnrVoN0Tb/mdGu/QtQSwMEFAACAAgA62ICU6GEF03jAgAAlAoAACEAAAB1bml2ZXJzYWwvZmxhc2hfc2tpbl9zZXR0aW5ncy54bWyVVsFu4jAQve9XRNl706XdlpUCElAqVepuqxb17iRDYuHYke3Q8vdrxw6xgUAaCymeec8zHj9PiMUG0+mPIIjTmnOgcgVlRZCEgKISJuGqwHSTsK8Av1cc0zxQzh3wQFpYGBkyI4y/g5QKIrSltQU4m4RJLSWjVymjUkW4ooyXiITTn9fNE0cN8hKLbYErzmPzXOCsUQpdmOEUG+P3vR59hJSVFaK7Z5azqwSlm5yzmmYX4xS7CjhR1dQb/3O/WPYGIFjIJ1VgL6flWI9hlIqDEKBTulvqcZFFUAKkjXT+VA44Xajzuz+gbbHAsqHNfunRR6tQDn6RxzM9+vFUre4Rrpej0c3deYKEL6mgNyM9eqGN8r+1OKvq6jsaqTjLdUF9zvxuMetXy55DGMrU9VOE0fz2cXx7kaA3pAMpxsNYjz6GLc/tgx4OyL669z7W15Uz8qrretAQ9KEnBKaS1xBH7cz4RME+X2qp7kfrdy0d5lXl/IpqAdM1IsLCOmMHfINPTDMXZS0d5IORuoSFSdhF+o6OsFjMm2bhZLg3OSly2B7hHGOH/KfqeoR0jB3yneAMXijZWY+T7KHLkNpDniN7nOfrr7xAkZpm1tvOWq+O9KyvrnBStYYWU7IMpkKns8Il6IOLo8ZmUoqOcoop2uIcSczoX41Lds1mRBwdOKzWTisrllgSOCW4JkfVpt1yNXNfj9brC9J8FrrNmXkgVRefhMzoMgwsZxI2a5iP4TGcMgliKBhJidKiVJ+8wRTdhBUe+BNds6GkEvEN8BVjpDdOHDlViKPTdY5tMU4dAK3LBPhSnRuGVji+zeAKnBdE/eQHhk/IfEKP0zBloZajCO916RisCADxtGhVaybGU9ZEYgJbINbrGJoN9+0sFkqlfYKbyWdYS1dy1jJIk7ZXdMfp9TnPcYLwofJiftdxHQNkL1Eimp15N7/tw04uXmtu+5nWuQsyBqslb2nlP66hMup/o/8BUEsDBBQAAgAIAOtiAlOpYJAf6AMAAKgQAAAmAAAAdW5pdmVyc2FsL2h0bWxfcHVibGlzaGluZ19zZXR0aW5ncy54bWzVWO9u2kgQ/85TrHzqx+K0l15SZIiixCioBDjs3LWqqmjxDngv613Xu4bST/c0fbA+yY29hEAgqWnL5U4oAo9nfvP3t2PHO/mUCDKFTHMlm86L+oFDQEaKcTlpOldh+/mxQ7ShklGhJDQdqRxy0qp5aT4SXMcBGIOqmiCM1I3UNJ3YmLThurPZrM51mhV3lcgN4ut6pBI3zUCDNJC5qaBz/DLzFLSzQKgAgH+JkguzVq1GiGeRLhXLBRDOMHLJi6SouDCJcFyrNaLRzSRTuWRnSqiMZJNR0/nl+LT43OpYpHOegCxKolsoLMSmQRnjRRBUBPwzkBj4JMZojw4dMuPMxE3n5WGBgtruJkqJbTOnBcqZwhJIs4BPwFBGDbWX1p+BT0bfCqyIzSVNeBTiHVKk33TOw+ug2zn3r3v90A+uL8LLro1hB6PQfxvuYBR2wq6/i35V+It3A3/Y7fTeXIf9fjfsDO6ssKJrBfHc9Yp5WFmVZxEsC+aZOE9GknKBI3qvjBoMDrmg2QRC1ebYxDEVGhzyVwqT33MquJkjFw6QCzcA6alOITLDom1Nx2Q5OHdwFhADw14uR+LV6+VIHB2vpe5a73dpbY3So8bQKMbhQVkZmueuim7VxkqupVZck5ESbJkQJCNgPZpggQdt6ZAxVl1gbv0UJAmoRNpxg/lGSwudj7ThpqRbe6F9mnEqCFIKzwUgl8FG/lFMM71W5mWpi2mPWu97yoD+YPO3oodU/1S5YGSuciL4DRCjCPY2T/BXDGSVQWScqaSUCqoN0YJjcFMOM2AnVRy9QxdJjpZ4nqQCjPXwMeefyQjGKkNcoFM8fVDOtcWv7wScUq3vQOltjM8sLzq9c//tsyJByqZURjuC40BAkpp94FPMXSp0IYTCaq5AYGUimmso+8M4K9WqpFn//o5onuTCdvxn92UFeo/d2Y8XOrc9qtKYb0ZQ2W1MpyUnC56V0MhGji2xmHgjwjOIyxyqAkZUEiXFnNAIT29dMHzKVa5RYrlsofV3BWhNCZdlqBN8JEBnGYOsCtrBi5e/Hr767ej4daPufv37y/NHjRYbbSBo4c2utLMHV2Y1q3uL8xtGj6zPDdu2ypJiRNmG0+2PBIvVtXnOe26xdLbvoHJV3ltBo6fbQYF/Ojy7IEM/uOqGQaPKCPQU8sxEMc7QuHhsrGLTvwqxCX4V1cHQ/6NSGNiNSvPvB5Xg+pXyeFNFa2h382BlL1cKAQ/wiT2Q8AgXPOE4i/8LUj7Ejx/n87/Cya3PhfxRUloa74mTQLMoxj7urfdPd9I9XVX/S4WyV8vXtrX3NM/d+kZcQ/n6fxdatX8AUEsDBBQAAgAIAOtiAlMyYqOLkAEAAAMGAAAfAAAAdW5pdmVyc2FsL2h0bWxfc2tpbl9zZXR0aW5ncy5qc42Uy27CMBBF93xFlG4r1AYKaXc8glSJRaV2V3XhhCFEOLZlOykp4t+LEx6247R4NvHVyR3PWJ59zzsuP/G9F29ff9f7N3Nfa6A0yQu4N3XcoedK9wXOVvCR5YAzAr6FlOdfL/LhSriMfVKbxtW7shWan08dNFPaGmGhi9wBChdYOsBvF7hzgD8XsKfV1dSkNToupKSkn1Aigcg+oTxHNePfPdRLL9GCaQm8QRf1cqBrlIBh+jd5dXwaq9C5hOYMkWpJU9qPUbJNOS3Iqst1UzHgxyvfnmp5Hs8iww5nQr5KyO3EUaiim2QchIBT3lGkwgljFAPWfNvdtFDDuF2QRZeZyOSZnjyq0GmGUmh1KZyoMDFy9LK5hygIBqM2J2EnG2IQqDAIjCrgt1hRVrAbLpBxmqqOtNDpaDYxr/KCYopWGUkbLpgOF+HQyanDKtsGnIcqdPBa6HCuwjeeELWe0Mbx+vKu0eF695YmjaF0ziqsrEvXIMAukbhE6hJZ5xRqDxJpDxK1//S+/juNbdc7/AJQSwMEFAACAAgATmlyVCkQ9LPCDwAAfiUAABcAAAB1bml2ZXJzYWwvdW5pdmVyc2FsLnBuZ+2a+1tSWffAabrNVF6apsbJC1Zv01zKa6lh4liWNaVNmmmmkjliXtDQQAGBKZ+ypoScSkdRaOI188o0hBcUtJs0KZJ5IUSlYowAlUQOKAh8wXrf7/P+D/7AOex99uectfZaZ+21zrMv/xQWYrNi/QoQCGRzYH9wOAi0JBgEWpz26TJLz+GXoWGW06Ls8JDdoIYeJ7mlsSQ5KDQIBLpHXjmXsNTS/uzM/uPZIJDtI+tvES/z7s8g0OY1B4KDjubGT4xIrozn4HlT2fTiY4Wh2277FIbWI8oeR6xZG/x4cPcf9zZrlj8MOu0W4NrfuIRz7fPPf/1CfPRbTdQK1snHxSvil/y47f5q3AaHoKzVHprdQf8uCTKf+1bFx4ADZRRBz+TcywDcWyD3UT7Tf7qi1EhI7qHO7spB91QOeAgCzA8Vik3kepe2LOBpmgrra5G0Y1u1YR+LlOoijbXbSMuduyy/sMjSbRvEIlPprur+Eio141NLx5n9NeeclhapCCpDnw3IOuII69pBALed6b3oPy0dV/WHvNR6seBuzNNK0Vfzfw/ZWwe8+XSj5fiDU9ASy+nSpkvWS8glqy1HV5LrJ5bT49WWKQb94nfe+jT7kAVoAVqAFqAFaAFagBagBWgBWoAWoAVoAVqAFqAFaAFagBagBeh/ocYVG3NiTR2KCBo+C2AxiNnAiApPTPKhQOCocYXD4L1y50TLOLRvAyyTVc1omeMH4pF0ViLiRIm8S1ITATMcb6D42m60fssduBI485rlLhiHoLYqf+8h7bCAYpxqeWCeR+BjBitxQpAeGMLi/1EvUkJ38bmZqdL5D8Zc7eZSfKhzn+jesh7eTEQ+fi5fHnkSBPKFGV/N/nRqv6APNqs4C7OQG8JGSgwEzwedQY9r92gDUYeSeev9cMnGmiZ2BuOTxSA/GLCnWkYlvh7y/utRmchEssUooCMyOyeLgG/T4ei6HKThhISFFePt6uLNK1Vl1MDpQRzYjz2cO+RInKoIEWbrxLAs3oiq7XWeVmmTiZMTahPjiCQdj0KUVwhVBa2TmJMAm0aTNCkb/SdQW/kujihR05ya3JCZl97fiCqFMrRpbeMpTbXiuwwmd3JKg4eQoziYtQ6gjtmaKIWLolubc/ZdhG4ivb1pw6XYa6XOSsTAbTW1S8eYNNw0kOMuuUX6VXdtPczYm7G3KOb3QdQI0Wx03LvOJ0J33FkFGUSNf7+uX77WVm/auvYgvOjkCLqKQ6qUWuVgk7jcoTsZ9J5aRuupAxXxhoim1ra5A+IB1AAgBAZ9pGNa+a544K11cmVVo2lvriU3Cuh7aNgMDkO3ZnWw29NuEtCYmnCc2GD4ey7c+IVpO8P08h+I6NBI5lpQZ59bu9SkZPzmoKJ5hh/1e3fyz4xWlKw+eziR7ubfeW/oTmM9o4k7iRQPMQixx/ZX855bHk1jhU6Ijy8rmi4TIRaD/oQByi8KtNwNXaUTum8SFFHJcAP326B/znePR6tSr+f2rlSJMHT9Z6bmT+FE+Eoz1y5Zl8SJqTLVGeh7nrEnBiuaepDkwrEkHoNpchI46upvH3hCut54ImcIWiHsznAE/WKE9Pt+4ZzcKKHfqDYfy200U+w/KNYAX/mqVH8Zb07thAArfhn73uElTfSQuGpVlyFrnfcgImdI6VCPS093DB5KaaJUNB6W7WCKl4FOEhug6pes5PiCACYevJl/k7zLK2BZ1eYPtovjr+vwljK+daoi1LTHtv0FY14wOzgU68YwS4pQZJugn5mlIz4gkAE5aM5+tdfikuTf4EJz79SdJUWZeOWJ2mQq5i17TDPrzp15w4qIL0MaxlBXFVmV0IYJOLOtUJUn8xe6t5ePARo0fUzIln/Uo5JA54sw9fGbf1J9iSyDVSfg1roUMzp28nGXrs5rcnpLgE8j3q4IPTSRAbeffcmDNmLNBglx5JFdYJ5Gx6niZvanSH1QpRD8znktA9Gz7mgeayw9rimj/mWfjIwNjSnuE+7Ejea+6NYS7/M1ntENNBxYr3TSpRz1JuwKo0FdeJVjExlerW20py3Li/xVbdko+YtKx2G0GFHrTpztEjZGO2/7TqGBeEg12h0c/iFwv765kcJX+7jgNb3KEvOwDJpzNkagxmJbe9VpI2fhPGxU1WcbOZcqKqIgF/uB+8jV3YRI13fSEwm3YEFHqiLL330zYPY/iI99fXuyymr20e4D5EIIcZWf0a+arNSQ3AGgULUnHJZWgX6BnoAvLUJJEhXg8+GSVrhMqGsZm3eRkQHcgXEvpgwP7GFQkfUv3WDcvD3d0VRYamG0eIDXtdS8xy7g7Fl9sy10opv04DTlK/KDZhinoSHRg8A9GsGrg7oI+wBkxTHe6+auYiSHw083EDbK1gfrzx1dToe64Z+nJvT25XR6eWke1MjPA6WCvLd61KCssjaygjB8Lm60c8aV8eRQXMi85lwOlx9njU2RV0TX3+zd9isOCYlYqa5EXfkZHaHbu/c8pAeQOSz/zqd7Mh+Cz6t8ghRXnB19YdE73JPOYNAPVTNaG9oFjuACABNyDSVmsUen2DqEj7GwtR3cLzGbqEckaal6XBTtmExIAzCcH3/+YHJfu/gW7IRoUNsnmE5FHFc+NG0guI/j6qMFZoV0lHt732F8fHHa43gGSWCn1EAQsYszvZhSjyE4lvasGcYCo2ImdDOzzSa3HSwY63AldFKQZohpF8o4+MDMBmkETaVeUUTFbu0m8SCydcH6MFW+Zxh4riHRiAG/pHLn/FihFcdKvpI19+GKm3rt1FCO6n3ZGNAvS6J5+w92iCihxHw3qa5W7xIp8e5UJXcRnyrAPRDiR+ENM7Ak0glHbdmZWUzAljrBYea+cVmh9PtLhoJMJvh2BRzOS7jP7+f2Z7+ydcBvxcaNGEZpZAM0THXiCd206BQMXT7mKeH1Jyagdw3ubHJ9sbzBVp1VbPen1Das4ljnzknbnXJSzOg+ok3ce8W55+5rY+IP40erWHHJ6LpzTF+KyZ971TnAaKzs5j4QwNFiEGgcDmbGOmp3cwcv7uAcq+tLo5jyVq0HMKX1qw3CRCxeJGyfqN04L5bG8x1whiE2YDIDZRMCJSZLJfMa16AKhczy0TvkWS7cKpPONdyfW074AQiCTr7qT0kqlzbkjEwMbM2kt1/Ut00+1ze73N3RpawWlKArrGvnaLpeBSAlgXrDQblqwxb+eOMi0Es+9I7w4kFnD2y9X80F0wHVhhd9jLJ3HeGeCVpqdlWFCOmA8MavSk2VKKR6tgGj8rp0tVhQ6l9zY1Q2ppmo0LZoUpItwrTYM+zlIOSR8/s5dSl51c/VWMX0X4JS57RX4/w7xMz7V9tN4eZ3AzIgmRZoIiXxZ+ykfh/sJDGO6hgB4iECFhGdNqBvJnhAuaIUxlplG4EV8uQ8Ut/yOl0vhCvURqWP2MQ+xB/3u9pYCl22A3h2U988+NgIuOXvRwRS4g+SO2V9AXgcx+W/VhP6Rtbne4rl8XkaOXP5cfcfFJD/Gm5Ron31V0T3dEwAgBHJLHETwjCJumrBOKOgPh5lcPa926doEyX9UmLxs8BvALtEfLwCF9meVdfue0NPjZTlDMeZFh/3bkVYkp/pyzxaszY9zZLr2JT0CWyUgphhYfbDmJKe+A1Zw5r1TebhsdDg5I+WlctYeOwEjn9AOc6N5Xj9G/ZtuKGt/Dpp1ieCfEE0FS2Lzd8feE3xIAJcQvjhqvtXipIvCsXAohPF96WT16CcBnpPGucnuVLpf6u9ccpWjigWBlIH0ZgfhBYlDj0hrQDroO+pAzTzE1g91HzBffTVdTKUy55G6JwRm652/A2PMD8HDi4tUeB+rIARZUqpyEequ0KdX35bGXgjRUhFInyB4XrqI+cmPxXrlPE4czI0EoeP7txxCnanm5B26nqpc36vTx/vVhVM3gvLVhmQyvGpNqRZvxNQRyXrtST/t5SwgGVw3pt/WaJeqv7B9pr8+6tWxBXvM14XIfW3dBXP+6rcAeeWtsV65XrVtamkKSmgS6HHqZ6K7sVj+SdcojnqRl+XveRMokHM03cyBS6ICPFgEly4tO3nka3tdgO6c1ObiQCS6J7SdVr8wQo5vDFL2jb3wI4RoBzKK057NKaJuSf8bYcx3xj/Tpf9oFeth3g46bjrLW7tOe/WnfIvv7sxqhuqgiKO9k0lxoqFPEvQMsz8WmaxxtcROvxHHVyCUxW3+klN0ju20ZnebrttkZaVSB4ZiJIpdIy5B9vPd1tTOxFqkftOxof1fOrVzVohFeVssqyNN3yioOqnGr/yztDPNr4dswQvOm2m1EAirIWvgw62GEbaW7BKhrlXQS0wXT3R/YioZ9QSzZ3me50w0zQxzMxNf9P2IYAIqqCGf/4/1YiAYbHYVWEH7VtcrTfFMvuxgmtJ72dmqsxJwB+BpoJNwJR6botJ//cAZXSqtW+p75eSrZ+coYskJaHlH7Mh7OTslw0BBsiwNeFKUhBvirRRSWWuWUGWFSeEkTvheMwMSATD9v6myWpzrugTdphjE+ZtrZnJNjbo2tL9M2yYoI5COBHmg4yfN4NWOaoLuN9nuDy8wlusOvKsTZcPpk6av15StNKLmRiAfZJG0F98fgS+8t1fw5NbVHnCs/5u3OOgV/uY7e4UPzLRQ+kDb7IBdZgGcD86qbu1mBseUWBMOltF+fxDnrbf/u/tK0HDp7W6pDUAriA5oNWUsQkEouwky3J90+AGf4hGJMtWFuY//aN97h28O4WA3WW4WWqZmrFPsLPQjYSkt4M+/7lBsvGvZ+xJdqHV+8+guVogMx63D+0XoaJ4ioVHENl3I3TydFoTC2m/858XaObb7RdqTYZhEaWGoJkSwGC7hLyuaWVopGRGK+EmFPHrE9eBmnvHVV13FDo7wRtwN7sHPzcvnf9j3Zqd/KGpn4TjyVP5nYX5+x9S+stl5dow42VfCZOtO6dr25pb/s9IuxZX20oA6H1PfL4ULwbrNdtB7zeZtd1miyNYqrNqcJjzMz1wP423J5YpNJU/sVtvKV7G6ghlZT4Uk2bmJgM3rbC88FAbsDcLYckb4qzbh2wTjGz50NS1wXHKpOFrS0037MTgTjuHqDarC4jqqRRQiiRXK6IjUsXs7nG2tUwsdc26Ut1xRLVF7dgO+NcKiK+vuF/ZQDTozLma2h2sQgdrFZl9/uk2BU9yVqeIbJIgNZIpkuI+JBNt3afzavOH0lL2gmsWr7fWmlfqYp5W1pJ3+QSssV63j1zZohmedj8ksJabfsEDu90GzEqDJZL+ngH6uEGo32lpUdlhvPZv+cX5rT+3hkIEgGv4tCaKy8a+fzYgv2Dtztg7AKnBzJ0+VmtefifxhleZW0Ghtf/A3rDght0nz/8fUEsDBBQAAgAIAE5pclTAqrEVSgAAAGsAAAAbAAAAdW5pdmVyc2FsL3VuaXZlcnNhbC5wbmcueG1ss7GvyM1RKEstKs7Mz7NVMtQzULK34+WyKShKLctMLVeoAIoBBSFASaESyDVCcMszU0oygEIGZhYIwYzUzPSMElslCwOERn2gmQBQSwECAAAUAAIACAAiVeNKqQHEdvsCAACwCAAAFAAAAAAAAAABAAAAAAAAAAAAdW5pdmVyc2FsL3BsYXllci54bWxQSwECAAAUAAIACADrYgJTMbQ+B90EAABqEgAAHQAAAAAAAAABAAAAAAAtAwAAdW5pdmVyc2FsL2NvbW1vbl9tZXNzYWdlcy5sbmdQSwECAAAUAAIACADrYgJTR0tXA/wDAAAXEQAAJwAAAAAAAAABAAAAAABFCAAAdW5pdmVyc2FsL2ZsYXNoX3B1Ymxpc2hpbmdfc2V0dGluZ3MueG1sUEsBAgAAFAACAAgA62ICU6GEF03jAgAAlAoAACEAAAAAAAAAAQAAAAAAhgwAAHVuaXZlcnNhbC9mbGFzaF9za2luX3NldHRpbmdzLnhtbFBLAQIAABQAAgAIAOtiAlOpYJAf6AMAAKgQAAAmAAAAAAAAAAEAAAAAAKgPAAB1bml2ZXJzYWwvaHRtbF9wdWJsaXNoaW5nX3NldHRpbmdzLnhtbFBLAQIAABQAAgAIAOtiAlMyYqOLkAEAAAMGAAAfAAAAAAAAAAEAAAAAANQTAAB1bml2ZXJzYWwvaHRtbF9za2luX3NldHRpbmdzLmpzUEsBAgAAFAACAAgATmlyVCkQ9LPCDwAAfiUAABcAAAAAAAAAAAAAAAAAoRUAAHVuaXZlcnNhbC91bml2ZXJzYWwucG5nUEsBAgAAFAACAAgATmlyVMCqsRVKAAAAawAAABsAAAAAAAAAAQAAAAAAmCUAAHVuaXZlcnNhbC91bml2ZXJzYWwucG5nLnhtbFBLBQYAAAAACAAIAGACAAAbJgAAAAA="/>
  <p:tag name="ISPRING_PRESENTATION_TITLE" val="The video galaxy"/>
  <p:tag name="ISPRING_FIRST_PUBLI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10.xml><?xml version="1.0" encoding="utf-8"?>
<a:theme xmlns:a="http://schemas.openxmlformats.org/drawingml/2006/main" name="6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3.xml><?xml version="1.0" encoding="utf-8"?>
<a:theme xmlns:a="http://schemas.openxmlformats.org/drawingml/2006/main" name="2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4.xml><?xml version="1.0" encoding="utf-8"?>
<a:theme xmlns:a="http://schemas.openxmlformats.org/drawingml/2006/main" name="1_Thinkbox_Dark Green">
  <a:themeElements>
    <a:clrScheme name="THINKBOX_01">
      <a:dk1>
        <a:sysClr val="windowText" lastClr="000000"/>
      </a:dk1>
      <a:lt1>
        <a:sysClr val="window" lastClr="FFFFFF"/>
      </a:lt1>
      <a:dk2>
        <a:srgbClr val="E10514"/>
      </a:dk2>
      <a:lt2>
        <a:srgbClr val="808080"/>
      </a:lt2>
      <a:accent1>
        <a:srgbClr val="E10514"/>
      </a:accent1>
      <a:accent2>
        <a:srgbClr val="EB7305"/>
      </a:accent2>
      <a:accent3>
        <a:srgbClr val="87B923"/>
      </a:accent3>
      <a:accent4>
        <a:srgbClr val="009B3C"/>
      </a:accent4>
      <a:accent5>
        <a:srgbClr val="0069B4"/>
      </a:accent5>
      <a:accent6>
        <a:srgbClr val="372D87"/>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5.xml><?xml version="1.0" encoding="utf-8"?>
<a:theme xmlns:a="http://schemas.openxmlformats.org/drawingml/2006/main" name="3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6.xml><?xml version="1.0" encoding="utf-8"?>
<a:theme xmlns:a="http://schemas.openxmlformats.org/drawingml/2006/main" name="Thinkbox_Red">
  <a:themeElements>
    <a:clrScheme name="THINKBOX_01">
      <a:dk1>
        <a:sysClr val="windowText" lastClr="000000"/>
      </a:dk1>
      <a:lt1>
        <a:sysClr val="window" lastClr="FFFFFF"/>
      </a:lt1>
      <a:dk2>
        <a:srgbClr val="E10514"/>
      </a:dk2>
      <a:lt2>
        <a:srgbClr val="808080"/>
      </a:lt2>
      <a:accent1>
        <a:srgbClr val="E10514"/>
      </a:accent1>
      <a:accent2>
        <a:srgbClr val="EB7305"/>
      </a:accent2>
      <a:accent3>
        <a:srgbClr val="87B923"/>
      </a:accent3>
      <a:accent4>
        <a:srgbClr val="009B3C"/>
      </a:accent4>
      <a:accent5>
        <a:srgbClr val="0069B4"/>
      </a:accent5>
      <a:accent6>
        <a:srgbClr val="372D87"/>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7.xml><?xml version="1.0" encoding="utf-8"?>
<a:theme xmlns:a="http://schemas.openxmlformats.org/drawingml/2006/main" name="1_Thinkbox_Red">
  <a:themeElements>
    <a:clrScheme name="THINKBOX_01">
      <a:dk1>
        <a:sysClr val="windowText" lastClr="000000"/>
      </a:dk1>
      <a:lt1>
        <a:sysClr val="window" lastClr="FFFFFF"/>
      </a:lt1>
      <a:dk2>
        <a:srgbClr val="E10514"/>
      </a:dk2>
      <a:lt2>
        <a:srgbClr val="808080"/>
      </a:lt2>
      <a:accent1>
        <a:srgbClr val="E10514"/>
      </a:accent1>
      <a:accent2>
        <a:srgbClr val="EB7305"/>
      </a:accent2>
      <a:accent3>
        <a:srgbClr val="87B923"/>
      </a:accent3>
      <a:accent4>
        <a:srgbClr val="009B3C"/>
      </a:accent4>
      <a:accent5>
        <a:srgbClr val="0069B4"/>
      </a:accent5>
      <a:accent6>
        <a:srgbClr val="372D87"/>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8.xml><?xml version="1.0" encoding="utf-8"?>
<a:theme xmlns:a="http://schemas.openxmlformats.org/drawingml/2006/main" name="4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ThinkboxPowerPoint_Template_Nov17_FINAL.pptx" id="{3F326CAD-93B2-44EF-A03C-22051131FAD6}" vid="{43955D0F-805C-462F-9BA3-8D8784816F2A}"/>
    </a:ext>
  </a:extLst>
</a:theme>
</file>

<file path=ppt/theme/theme9.xml><?xml version="1.0" encoding="utf-8"?>
<a:theme xmlns:a="http://schemas.openxmlformats.org/drawingml/2006/main" name="5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F4B3AF4E90F404BB4E852F1B58CECC9" ma:contentTypeVersion="13" ma:contentTypeDescription="Create a new document." ma:contentTypeScope="" ma:versionID="91cec0720ae6ab1b2c5c098df3acdac7">
  <xsd:schema xmlns:xsd="http://www.w3.org/2001/XMLSchema" xmlns:xs="http://www.w3.org/2001/XMLSchema" xmlns:p="http://schemas.microsoft.com/office/2006/metadata/properties" xmlns:ns3="694495ef-498e-4c99-9e9e-f84df279a82b" xmlns:ns4="17b75136-083a-47b3-97d2-4a0d50268c54" targetNamespace="http://schemas.microsoft.com/office/2006/metadata/properties" ma:root="true" ma:fieldsID="c846dd86f112b32ba3f6a68f75a87c0d" ns3:_="" ns4:_="">
    <xsd:import namespace="694495ef-498e-4c99-9e9e-f84df279a82b"/>
    <xsd:import namespace="17b75136-083a-47b3-97d2-4a0d50268c54"/>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KeyPoints" minOccurs="0"/>
                <xsd:element ref="ns3:MediaServiceKeyPoints" minOccurs="0"/>
                <xsd:element ref="ns3:MediaLengthInSeconds"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4495ef-498e-4c99-9e9e-f84df279a8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Length (seconds)" ma:internalName="MediaLengthInSeconds" ma:readOnly="true">
      <xsd:simpleType>
        <xsd:restriction base="dms:Unknow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7b75136-083a-47b3-97d2-4a0d50268c5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21E58E2-9321-4BEB-9CBE-DFFE492362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94495ef-498e-4c99-9e9e-f84df279a82b"/>
    <ds:schemaRef ds:uri="17b75136-083a-47b3-97d2-4a0d50268c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048D2FA-DEED-4B2C-97C9-B7A24823ADBF}">
  <ds:schemaRefs>
    <ds:schemaRef ds:uri="http://schemas.microsoft.com/sharepoint/v3/contenttype/forms"/>
  </ds:schemaRefs>
</ds:datastoreItem>
</file>

<file path=customXml/itemProps3.xml><?xml version="1.0" encoding="utf-8"?>
<ds:datastoreItem xmlns:ds="http://schemas.openxmlformats.org/officeDocument/2006/customXml" ds:itemID="{67341564-F18B-41FD-95A1-97346EA0164A}">
  <ds:schemaRefs>
    <ds:schemaRef ds:uri="17b75136-083a-47b3-97d2-4a0d50268c54"/>
    <ds:schemaRef ds:uri="http://schemas.microsoft.com/office/infopath/2007/PartnerControls"/>
    <ds:schemaRef ds:uri="http://purl.org/dc/dcmitype/"/>
    <ds:schemaRef ds:uri="http://purl.org/dc/elements/1.1/"/>
    <ds:schemaRef ds:uri="http://schemas.microsoft.com/office/2006/metadata/properties"/>
    <ds:schemaRef ds:uri="694495ef-498e-4c99-9e9e-f84df279a82b"/>
    <ds:schemaRef ds:uri="http://purl.org/dc/terms/"/>
    <ds:schemaRef ds:uri="http://www.w3.org/XML/1998/namespace"/>
    <ds:schemaRef ds:uri="http://schemas.microsoft.com/office/2006/documentManagement/type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otalTime>27032</TotalTime>
  <Words>702</Words>
  <Application>Microsoft Office PowerPoint</Application>
  <PresentationFormat>Widescreen</PresentationFormat>
  <Paragraphs>40</Paragraphs>
  <Slides>3</Slides>
  <Notes>3</Notes>
  <HiddenSlides>0</HiddenSlides>
  <MMClips>0</MMClips>
  <ScaleCrop>false</ScaleCrop>
  <HeadingPairs>
    <vt:vector size="8" baseType="variant">
      <vt:variant>
        <vt:lpstr>Fonts Used</vt:lpstr>
      </vt:variant>
      <vt:variant>
        <vt:i4>5</vt:i4>
      </vt:variant>
      <vt:variant>
        <vt:lpstr>Theme</vt:lpstr>
      </vt:variant>
      <vt:variant>
        <vt:i4>10</vt:i4>
      </vt:variant>
      <vt:variant>
        <vt:lpstr>Embedded OLE Servers</vt:lpstr>
      </vt:variant>
      <vt:variant>
        <vt:i4>1</vt:i4>
      </vt:variant>
      <vt:variant>
        <vt:lpstr>Slide Titles</vt:lpstr>
      </vt:variant>
      <vt:variant>
        <vt:i4>3</vt:i4>
      </vt:variant>
    </vt:vector>
  </HeadingPairs>
  <TitlesOfParts>
    <vt:vector size="19" baseType="lpstr">
      <vt:lpstr>Arial</vt:lpstr>
      <vt:lpstr>Arial Black</vt:lpstr>
      <vt:lpstr>Calibri</vt:lpstr>
      <vt:lpstr>Century Gothic</vt:lpstr>
      <vt:lpstr>proxima-nova</vt:lpstr>
      <vt:lpstr>Thinkbox</vt:lpstr>
      <vt:lpstr>1_Thinkbox</vt:lpstr>
      <vt:lpstr>2_Thinkbox</vt:lpstr>
      <vt:lpstr>1_Thinkbox_Dark Green</vt:lpstr>
      <vt:lpstr>3_Thinkbox</vt:lpstr>
      <vt:lpstr>Thinkbox_Red</vt:lpstr>
      <vt:lpstr>1_Thinkbox_Red</vt:lpstr>
      <vt:lpstr>4_Thinkbox</vt:lpstr>
      <vt:lpstr>5_Thinkbox</vt:lpstr>
      <vt:lpstr>6_Thinkbox</vt:lpstr>
      <vt:lpstr>Diapositive think-cell</vt:lpstr>
      <vt:lpstr>Commercial broadcasters are unrivalled for scale </vt:lpstr>
      <vt:lpstr>Commercial broadcasters remain important to 16-34s</vt:lpstr>
      <vt:lpstr>Commercial broadcasters deliver the most scale for 16-34s on the TV se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video galaxy</dc:title>
  <dc:creator>Oliver Robertson</dc:creator>
  <cp:lastModifiedBy>Naz Erten</cp:lastModifiedBy>
  <cp:revision>409</cp:revision>
  <cp:lastPrinted>2023-02-21T17:44:26Z</cp:lastPrinted>
  <dcterms:created xsi:type="dcterms:W3CDTF">2020-04-30T11:31:17Z</dcterms:created>
  <dcterms:modified xsi:type="dcterms:W3CDTF">2023-11-29T12:4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4B3AF4E90F404BB4E852F1B58CECC9</vt:lpwstr>
  </property>
</Properties>
</file>